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1.xml" ContentType="application/vnd.openxmlformats-officedocument.them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heme/themeOverride1.xml" ContentType="application/vnd.openxmlformats-officedocument.themeOverr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xml" ContentType="application/vnd.openxmlformats-officedocument.presentationml.notesSlide+xml"/>
  <Override PartName="/ppt/tags/tag167.xml" ContentType="application/vnd.openxmlformats-officedocument.presentationml.tags+xml"/>
  <Override PartName="/ppt/notesSlides/notesSlide2.xml" ContentType="application/vnd.openxmlformats-officedocument.presentationml.notesSlide+xml"/>
  <Override PartName="/ppt/tags/tag168.xml" ContentType="application/vnd.openxmlformats-officedocument.presentationml.tags+xml"/>
  <Override PartName="/ppt/notesSlides/notesSlide3.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4.xml" ContentType="application/vnd.openxmlformats-officedocument.presentationml.notesSlide+xml"/>
  <Override PartName="/ppt/tags/tag179.xml" ContentType="application/vnd.openxmlformats-officedocument.presentationml.tags+xml"/>
  <Override PartName="/ppt/notesSlides/notesSlide5.xml" ContentType="application/vnd.openxmlformats-officedocument.presentationml.notesSlide+xml"/>
  <Override PartName="/ppt/tags/tag180.xml" ContentType="application/vnd.openxmlformats-officedocument.presentationml.tags+xml"/>
  <Override PartName="/ppt/notesSlides/notesSlide6.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7.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8.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9.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10.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11.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notesSlides/notesSlide12.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0" r:id="rId5"/>
    <p:sldMasterId id="2147483678" r:id="rId6"/>
    <p:sldMasterId id="2147483687" r:id="rId7"/>
    <p:sldMasterId id="2147483696" r:id="rId8"/>
    <p:sldMasterId id="2147483705" r:id="rId9"/>
    <p:sldMasterId id="2147483714" r:id="rId10"/>
    <p:sldMasterId id="2147483723" r:id="rId11"/>
    <p:sldMasterId id="2147483732" r:id="rId12"/>
    <p:sldMasterId id="2147483741" r:id="rId13"/>
    <p:sldMasterId id="2147483750" r:id="rId14"/>
  </p:sldMasterIdLst>
  <p:notesMasterIdLst>
    <p:notesMasterId r:id="rId28"/>
  </p:notesMasterIdLst>
  <p:handoutMasterIdLst>
    <p:handoutMasterId r:id="rId29"/>
  </p:handoutMasterIdLst>
  <p:sldIdLst>
    <p:sldId id="2490" r:id="rId15"/>
    <p:sldId id="2454" r:id="rId16"/>
    <p:sldId id="2491" r:id="rId17"/>
    <p:sldId id="2455" r:id="rId18"/>
    <p:sldId id="2228" r:id="rId19"/>
    <p:sldId id="2457" r:id="rId20"/>
    <p:sldId id="2458" r:id="rId21"/>
    <p:sldId id="2459" r:id="rId22"/>
    <p:sldId id="2488" r:id="rId23"/>
    <p:sldId id="2489" r:id="rId24"/>
    <p:sldId id="2251" r:id="rId25"/>
    <p:sldId id="1598" r:id="rId26"/>
    <p:sldId id="2213"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B050"/>
    <a:srgbClr val="F7F7F7"/>
    <a:srgbClr val="D3EFCE"/>
    <a:srgbClr val="EBF2FF"/>
    <a:srgbClr val="C00000"/>
    <a:srgbClr val="FFC000"/>
    <a:srgbClr val="FFE48F"/>
    <a:srgbClr val="E5F4D4"/>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E7F555-1B84-4F2D-8514-9DD7B564A70A}" v="2" dt="2023-09-29T03:18:30.6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77" autoAdjust="0"/>
    <p:restoredTop sz="94987" autoAdjust="0"/>
  </p:normalViewPr>
  <p:slideViewPr>
    <p:cSldViewPr snapToGrid="0">
      <p:cViewPr varScale="1">
        <p:scale>
          <a:sx n="56" d="100"/>
          <a:sy n="56" d="100"/>
        </p:scale>
        <p:origin x="1016"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054A0FD0-B662-4CE6-BBA9-FE85ACE9B85C}"/>
    <pc:docChg chg="undo custSel addSld delSld modSld modMainMaster">
      <pc:chgData name="Aurelien Domont" userId="6da7715ce44349b3" providerId="LiveId" clId="{054A0FD0-B662-4CE6-BBA9-FE85ACE9B85C}" dt="2023-09-26T06:39:07.700" v="582" actId="1037"/>
      <pc:docMkLst>
        <pc:docMk/>
      </pc:docMkLst>
      <pc:sldChg chg="addSp delSp modSp del mod">
        <pc:chgData name="Aurelien Domont" userId="6da7715ce44349b3" providerId="LiveId" clId="{054A0FD0-B662-4CE6-BBA9-FE85ACE9B85C}" dt="2023-09-26T06:06:43.583" v="12" actId="47"/>
        <pc:sldMkLst>
          <pc:docMk/>
          <pc:sldMk cId="3131901387" sldId="256"/>
        </pc:sldMkLst>
        <pc:picChg chg="add mod">
          <ac:chgData name="Aurelien Domont" userId="6da7715ce44349b3" providerId="LiveId" clId="{054A0FD0-B662-4CE6-BBA9-FE85ACE9B85C}" dt="2023-01-27T03:57:36.096" v="7"/>
          <ac:picMkLst>
            <pc:docMk/>
            <pc:sldMk cId="3131901387" sldId="256"/>
            <ac:picMk id="4" creationId="{DB9C5087-C592-E5AD-1610-A863ABA48265}"/>
          </ac:picMkLst>
        </pc:picChg>
        <pc:picChg chg="del">
          <ac:chgData name="Aurelien Domont" userId="6da7715ce44349b3" providerId="LiveId" clId="{054A0FD0-B662-4CE6-BBA9-FE85ACE9B85C}" dt="2023-01-27T03:57:35.851" v="6" actId="478"/>
          <ac:picMkLst>
            <pc:docMk/>
            <pc:sldMk cId="3131901387" sldId="256"/>
            <ac:picMk id="7" creationId="{56F6D9FE-2BD8-43FA-8517-544E7B92AA1A}"/>
          </ac:picMkLst>
        </pc:picChg>
      </pc:sldChg>
      <pc:sldChg chg="add del">
        <pc:chgData name="Aurelien Domont" userId="6da7715ce44349b3" providerId="LiveId" clId="{054A0FD0-B662-4CE6-BBA9-FE85ACE9B85C}" dt="2023-01-27T04:20:58.481" v="10" actId="47"/>
        <pc:sldMkLst>
          <pc:docMk/>
          <pc:sldMk cId="1754585881" sldId="1598"/>
        </pc:sldMkLst>
      </pc:sldChg>
      <pc:sldChg chg="modSp del">
        <pc:chgData name="Aurelien Domont" userId="6da7715ce44349b3" providerId="LiveId" clId="{054A0FD0-B662-4CE6-BBA9-FE85ACE9B85C}" dt="2023-01-27T04:20:54.791" v="8" actId="47"/>
        <pc:sldMkLst>
          <pc:docMk/>
          <pc:sldMk cId="719587147" sldId="1600"/>
        </pc:sldMkLst>
        <pc:spChg chg="mod">
          <ac:chgData name="Aurelien Domont" userId="6da7715ce44349b3" providerId="LiveId" clId="{054A0FD0-B662-4CE6-BBA9-FE85ACE9B85C}" dt="2022-10-27T05:56:40.044" v="5"/>
          <ac:spMkLst>
            <pc:docMk/>
            <pc:sldMk cId="719587147" sldId="1600"/>
            <ac:spMk id="8" creationId="{3D029769-9B2F-4A51-8446-2206A9A2EF30}"/>
          </ac:spMkLst>
        </pc:spChg>
      </pc:sldChg>
      <pc:sldChg chg="modSp del">
        <pc:chgData name="Aurelien Domont" userId="6da7715ce44349b3" providerId="LiveId" clId="{054A0FD0-B662-4CE6-BBA9-FE85ACE9B85C}" dt="2022-10-27T05:56:36.599" v="4" actId="47"/>
        <pc:sldMkLst>
          <pc:docMk/>
          <pc:sldMk cId="3998170401" sldId="1791"/>
        </pc:sldMkLst>
        <pc:spChg chg="mod">
          <ac:chgData name="Aurelien Domont" userId="6da7715ce44349b3" providerId="LiveId" clId="{054A0FD0-B662-4CE6-BBA9-FE85ACE9B85C}" dt="2022-10-27T05:55:17.884" v="0"/>
          <ac:spMkLst>
            <pc:docMk/>
            <pc:sldMk cId="3998170401" sldId="1791"/>
            <ac:spMk id="3" creationId="{CE2529A3-BA97-486F-9E02-8DFAAA7D8D38}"/>
          </ac:spMkLst>
        </pc:spChg>
        <pc:spChg chg="mod">
          <ac:chgData name="Aurelien Domont" userId="6da7715ce44349b3" providerId="LiveId" clId="{054A0FD0-B662-4CE6-BBA9-FE85ACE9B85C}" dt="2022-10-27T05:55:17.884" v="0"/>
          <ac:spMkLst>
            <pc:docMk/>
            <pc:sldMk cId="3998170401" sldId="1791"/>
            <ac:spMk id="16" creationId="{6C2BB713-9637-4B9B-938F-E9768876782A}"/>
          </ac:spMkLst>
        </pc:spChg>
      </pc:sldChg>
      <pc:sldChg chg="modSp del">
        <pc:chgData name="Aurelien Domont" userId="6da7715ce44349b3" providerId="LiveId" clId="{054A0FD0-B662-4CE6-BBA9-FE85ACE9B85C}" dt="2022-10-27T05:56:36.599" v="4" actId="47"/>
        <pc:sldMkLst>
          <pc:docMk/>
          <pc:sldMk cId="51526872" sldId="1792"/>
        </pc:sldMkLst>
        <pc:spChg chg="mod">
          <ac:chgData name="Aurelien Domont" userId="6da7715ce44349b3" providerId="LiveId" clId="{054A0FD0-B662-4CE6-BBA9-FE85ACE9B85C}" dt="2022-10-27T05:55:17.884" v="0"/>
          <ac:spMkLst>
            <pc:docMk/>
            <pc:sldMk cId="51526872" sldId="1792"/>
            <ac:spMk id="3" creationId="{CE2529A3-BA97-486F-9E02-8DFAAA7D8D38}"/>
          </ac:spMkLst>
        </pc:spChg>
        <pc:spChg chg="mod">
          <ac:chgData name="Aurelien Domont" userId="6da7715ce44349b3" providerId="LiveId" clId="{054A0FD0-B662-4CE6-BBA9-FE85ACE9B85C}" dt="2022-10-27T05:55:17.884" v="0"/>
          <ac:spMkLst>
            <pc:docMk/>
            <pc:sldMk cId="51526872" sldId="1792"/>
            <ac:spMk id="16" creationId="{6C2BB713-9637-4B9B-938F-E9768876782A}"/>
          </ac:spMkLst>
        </pc:spChg>
      </pc:sldChg>
      <pc:sldChg chg="modSp del">
        <pc:chgData name="Aurelien Domont" userId="6da7715ce44349b3" providerId="LiveId" clId="{054A0FD0-B662-4CE6-BBA9-FE85ACE9B85C}" dt="2022-10-27T05:56:36.599" v="4" actId="47"/>
        <pc:sldMkLst>
          <pc:docMk/>
          <pc:sldMk cId="1943404369" sldId="1793"/>
        </pc:sldMkLst>
        <pc:spChg chg="mod">
          <ac:chgData name="Aurelien Domont" userId="6da7715ce44349b3" providerId="LiveId" clId="{054A0FD0-B662-4CE6-BBA9-FE85ACE9B85C}" dt="2022-10-27T05:55:17.884" v="0"/>
          <ac:spMkLst>
            <pc:docMk/>
            <pc:sldMk cId="1943404369" sldId="1793"/>
            <ac:spMk id="3" creationId="{CE2529A3-BA97-486F-9E02-8DFAAA7D8D38}"/>
          </ac:spMkLst>
        </pc:spChg>
        <pc:spChg chg="mod">
          <ac:chgData name="Aurelien Domont" userId="6da7715ce44349b3" providerId="LiveId" clId="{054A0FD0-B662-4CE6-BBA9-FE85ACE9B85C}" dt="2022-10-27T05:55:17.884" v="0"/>
          <ac:spMkLst>
            <pc:docMk/>
            <pc:sldMk cId="1943404369" sldId="1793"/>
            <ac:spMk id="16" creationId="{6C2BB713-9637-4B9B-938F-E9768876782A}"/>
          </ac:spMkLst>
        </pc:spChg>
      </pc:sldChg>
      <pc:sldChg chg="modSp del">
        <pc:chgData name="Aurelien Domont" userId="6da7715ce44349b3" providerId="LiveId" clId="{054A0FD0-B662-4CE6-BBA9-FE85ACE9B85C}" dt="2022-10-27T05:56:36.599" v="4" actId="47"/>
        <pc:sldMkLst>
          <pc:docMk/>
          <pc:sldMk cId="871423363" sldId="1794"/>
        </pc:sldMkLst>
        <pc:spChg chg="mod">
          <ac:chgData name="Aurelien Domont" userId="6da7715ce44349b3" providerId="LiveId" clId="{054A0FD0-B662-4CE6-BBA9-FE85ACE9B85C}" dt="2022-10-27T05:55:17.884" v="0"/>
          <ac:spMkLst>
            <pc:docMk/>
            <pc:sldMk cId="871423363" sldId="1794"/>
            <ac:spMk id="3" creationId="{CE2529A3-BA97-486F-9E02-8DFAAA7D8D38}"/>
          </ac:spMkLst>
        </pc:spChg>
        <pc:spChg chg="mod">
          <ac:chgData name="Aurelien Domont" userId="6da7715ce44349b3" providerId="LiveId" clId="{054A0FD0-B662-4CE6-BBA9-FE85ACE9B85C}" dt="2022-10-27T05:55:17.884" v="0"/>
          <ac:spMkLst>
            <pc:docMk/>
            <pc:sldMk cId="871423363" sldId="1794"/>
            <ac:spMk id="16" creationId="{6C2BB713-9637-4B9B-938F-E9768876782A}"/>
          </ac:spMkLst>
        </pc:spChg>
      </pc:sldChg>
      <pc:sldChg chg="modSp del">
        <pc:chgData name="Aurelien Domont" userId="6da7715ce44349b3" providerId="LiveId" clId="{054A0FD0-B662-4CE6-BBA9-FE85ACE9B85C}" dt="2022-10-27T05:56:36.599" v="4" actId="47"/>
        <pc:sldMkLst>
          <pc:docMk/>
          <pc:sldMk cId="386618823" sldId="1795"/>
        </pc:sldMkLst>
        <pc:spChg chg="mod">
          <ac:chgData name="Aurelien Domont" userId="6da7715ce44349b3" providerId="LiveId" clId="{054A0FD0-B662-4CE6-BBA9-FE85ACE9B85C}" dt="2022-10-27T05:55:17.884" v="0"/>
          <ac:spMkLst>
            <pc:docMk/>
            <pc:sldMk cId="386618823" sldId="1795"/>
            <ac:spMk id="3" creationId="{CE2529A3-BA97-486F-9E02-8DFAAA7D8D38}"/>
          </ac:spMkLst>
        </pc:spChg>
        <pc:spChg chg="mod">
          <ac:chgData name="Aurelien Domont" userId="6da7715ce44349b3" providerId="LiveId" clId="{054A0FD0-B662-4CE6-BBA9-FE85ACE9B85C}" dt="2022-10-27T05:55:17.884" v="0"/>
          <ac:spMkLst>
            <pc:docMk/>
            <pc:sldMk cId="386618823" sldId="1795"/>
            <ac:spMk id="16" creationId="{6C2BB713-9637-4B9B-938F-E9768876782A}"/>
          </ac:spMkLst>
        </pc:spChg>
      </pc:sldChg>
      <pc:sldChg chg="modSp del">
        <pc:chgData name="Aurelien Domont" userId="6da7715ce44349b3" providerId="LiveId" clId="{054A0FD0-B662-4CE6-BBA9-FE85ACE9B85C}" dt="2022-10-27T05:56:36.599" v="4" actId="47"/>
        <pc:sldMkLst>
          <pc:docMk/>
          <pc:sldMk cId="1472902538" sldId="1796"/>
        </pc:sldMkLst>
        <pc:spChg chg="mod">
          <ac:chgData name="Aurelien Domont" userId="6da7715ce44349b3" providerId="LiveId" clId="{054A0FD0-B662-4CE6-BBA9-FE85ACE9B85C}" dt="2022-10-27T05:55:17.884" v="0"/>
          <ac:spMkLst>
            <pc:docMk/>
            <pc:sldMk cId="1472902538" sldId="1796"/>
            <ac:spMk id="3" creationId="{CE2529A3-BA97-486F-9E02-8DFAAA7D8D38}"/>
          </ac:spMkLst>
        </pc:spChg>
        <pc:spChg chg="mod">
          <ac:chgData name="Aurelien Domont" userId="6da7715ce44349b3" providerId="LiveId" clId="{054A0FD0-B662-4CE6-BBA9-FE85ACE9B85C}" dt="2022-10-27T05:55:17.884" v="0"/>
          <ac:spMkLst>
            <pc:docMk/>
            <pc:sldMk cId="1472902538" sldId="1796"/>
            <ac:spMk id="16" creationId="{6C2BB713-9637-4B9B-938F-E9768876782A}"/>
          </ac:spMkLst>
        </pc:spChg>
      </pc:sldChg>
      <pc:sldChg chg="modSp del">
        <pc:chgData name="Aurelien Domont" userId="6da7715ce44349b3" providerId="LiveId" clId="{054A0FD0-B662-4CE6-BBA9-FE85ACE9B85C}" dt="2022-10-27T05:56:36.599" v="4" actId="47"/>
        <pc:sldMkLst>
          <pc:docMk/>
          <pc:sldMk cId="2086545389" sldId="1797"/>
        </pc:sldMkLst>
        <pc:spChg chg="mod">
          <ac:chgData name="Aurelien Domont" userId="6da7715ce44349b3" providerId="LiveId" clId="{054A0FD0-B662-4CE6-BBA9-FE85ACE9B85C}" dt="2022-10-27T05:55:17.884" v="0"/>
          <ac:spMkLst>
            <pc:docMk/>
            <pc:sldMk cId="2086545389" sldId="1797"/>
            <ac:spMk id="3" creationId="{CE2529A3-BA97-486F-9E02-8DFAAA7D8D38}"/>
          </ac:spMkLst>
        </pc:spChg>
        <pc:spChg chg="mod">
          <ac:chgData name="Aurelien Domont" userId="6da7715ce44349b3" providerId="LiveId" clId="{054A0FD0-B662-4CE6-BBA9-FE85ACE9B85C}" dt="2022-10-27T05:55:17.884" v="0"/>
          <ac:spMkLst>
            <pc:docMk/>
            <pc:sldMk cId="2086545389" sldId="1797"/>
            <ac:spMk id="16" creationId="{6C2BB713-9637-4B9B-938F-E9768876782A}"/>
          </ac:spMkLst>
        </pc:spChg>
      </pc:sldChg>
      <pc:sldChg chg="add">
        <pc:chgData name="Aurelien Domont" userId="6da7715ce44349b3" providerId="LiveId" clId="{054A0FD0-B662-4CE6-BBA9-FE85ACE9B85C}" dt="2023-01-27T04:20:56.419" v="9"/>
        <pc:sldMkLst>
          <pc:docMk/>
          <pc:sldMk cId="1289725493" sldId="2149"/>
        </pc:sldMkLst>
      </pc:sldChg>
      <pc:sldChg chg="delSp modSp add mod">
        <pc:chgData name="Aurelien Domont" userId="6da7715ce44349b3" providerId="LiveId" clId="{054A0FD0-B662-4CE6-BBA9-FE85ACE9B85C}" dt="2023-09-26T06:23:35.671" v="384" actId="20577"/>
        <pc:sldMkLst>
          <pc:docMk/>
          <pc:sldMk cId="1909642302" sldId="2228"/>
        </pc:sldMkLst>
        <pc:spChg chg="mod">
          <ac:chgData name="Aurelien Domont" userId="6da7715ce44349b3" providerId="LiveId" clId="{054A0FD0-B662-4CE6-BBA9-FE85ACE9B85C}" dt="2023-09-26T06:23:22.180" v="377" actId="1036"/>
          <ac:spMkLst>
            <pc:docMk/>
            <pc:sldMk cId="1909642302" sldId="2228"/>
            <ac:spMk id="4" creationId="{7DF479D6-885C-23D4-C779-17D7754EF609}"/>
          </ac:spMkLst>
        </pc:spChg>
        <pc:spChg chg="mod">
          <ac:chgData name="Aurelien Domont" userId="6da7715ce44349b3" providerId="LiveId" clId="{054A0FD0-B662-4CE6-BBA9-FE85ACE9B85C}" dt="2023-09-26T06:23:22.180" v="377" actId="1036"/>
          <ac:spMkLst>
            <pc:docMk/>
            <pc:sldMk cId="1909642302" sldId="2228"/>
            <ac:spMk id="5" creationId="{C615B0E9-66F8-2387-F45E-3D56D2C4E778}"/>
          </ac:spMkLst>
        </pc:spChg>
        <pc:spChg chg="mod">
          <ac:chgData name="Aurelien Domont" userId="6da7715ce44349b3" providerId="LiveId" clId="{054A0FD0-B662-4CE6-BBA9-FE85ACE9B85C}" dt="2023-09-26T06:23:22.180" v="377" actId="1036"/>
          <ac:spMkLst>
            <pc:docMk/>
            <pc:sldMk cId="1909642302" sldId="2228"/>
            <ac:spMk id="6" creationId="{EBA17DEA-4EA3-F763-CBC8-64F27F9BE74F}"/>
          </ac:spMkLst>
        </pc:spChg>
        <pc:spChg chg="mod">
          <ac:chgData name="Aurelien Domont" userId="6da7715ce44349b3" providerId="LiveId" clId="{054A0FD0-B662-4CE6-BBA9-FE85ACE9B85C}" dt="2023-09-26T06:23:22.180" v="377" actId="1036"/>
          <ac:spMkLst>
            <pc:docMk/>
            <pc:sldMk cId="1909642302" sldId="2228"/>
            <ac:spMk id="7" creationId="{E3DDD7CF-21BD-815E-E4A6-768B75C5607F}"/>
          </ac:spMkLst>
        </pc:spChg>
        <pc:spChg chg="mod">
          <ac:chgData name="Aurelien Domont" userId="6da7715ce44349b3" providerId="LiveId" clId="{054A0FD0-B662-4CE6-BBA9-FE85ACE9B85C}" dt="2023-09-26T06:23:22.180" v="377" actId="1036"/>
          <ac:spMkLst>
            <pc:docMk/>
            <pc:sldMk cId="1909642302" sldId="2228"/>
            <ac:spMk id="8" creationId="{C8EFAEA7-1B6C-A7FE-0CB9-ED1FFF220785}"/>
          </ac:spMkLst>
        </pc:spChg>
        <pc:spChg chg="mod">
          <ac:chgData name="Aurelien Domont" userId="6da7715ce44349b3" providerId="LiveId" clId="{054A0FD0-B662-4CE6-BBA9-FE85ACE9B85C}" dt="2023-09-26T06:23:22.180" v="377" actId="1036"/>
          <ac:spMkLst>
            <pc:docMk/>
            <pc:sldMk cId="1909642302" sldId="2228"/>
            <ac:spMk id="9" creationId="{311ECF8F-EBE4-FF5E-471E-9CB0C40F5597}"/>
          </ac:spMkLst>
        </pc:spChg>
        <pc:spChg chg="del">
          <ac:chgData name="Aurelien Domont" userId="6da7715ce44349b3" providerId="LiveId" clId="{054A0FD0-B662-4CE6-BBA9-FE85ACE9B85C}" dt="2023-09-26T06:22:40.498" v="318" actId="478"/>
          <ac:spMkLst>
            <pc:docMk/>
            <pc:sldMk cId="1909642302" sldId="2228"/>
            <ac:spMk id="15" creationId="{C7E93EB8-5412-BC9C-EEB5-8ED9CBF7A183}"/>
          </ac:spMkLst>
        </pc:spChg>
        <pc:spChg chg="mod">
          <ac:chgData name="Aurelien Domont" userId="6da7715ce44349b3" providerId="LiveId" clId="{054A0FD0-B662-4CE6-BBA9-FE85ACE9B85C}" dt="2023-09-26T06:23:35.671" v="384" actId="20577"/>
          <ac:spMkLst>
            <pc:docMk/>
            <pc:sldMk cId="1909642302" sldId="2228"/>
            <ac:spMk id="16" creationId="{6C2BB713-9637-4B9B-938F-E9768876782A}"/>
          </ac:spMkLst>
        </pc:spChg>
        <pc:spChg chg="del">
          <ac:chgData name="Aurelien Domont" userId="6da7715ce44349b3" providerId="LiveId" clId="{054A0FD0-B662-4CE6-BBA9-FE85ACE9B85C}" dt="2023-09-26T06:22:40.498" v="318" actId="478"/>
          <ac:spMkLst>
            <pc:docMk/>
            <pc:sldMk cId="1909642302" sldId="2228"/>
            <ac:spMk id="17" creationId="{E869460D-9154-66DD-7756-3A30D1267220}"/>
          </ac:spMkLst>
        </pc:spChg>
        <pc:spChg chg="del">
          <ac:chgData name="Aurelien Domont" userId="6da7715ce44349b3" providerId="LiveId" clId="{054A0FD0-B662-4CE6-BBA9-FE85ACE9B85C}" dt="2023-09-26T06:22:40.498" v="318" actId="478"/>
          <ac:spMkLst>
            <pc:docMk/>
            <pc:sldMk cId="1909642302" sldId="2228"/>
            <ac:spMk id="18" creationId="{62BDB56D-E282-914D-1AAB-EFBA8F98D882}"/>
          </ac:spMkLst>
        </pc:spChg>
        <pc:spChg chg="del">
          <ac:chgData name="Aurelien Domont" userId="6da7715ce44349b3" providerId="LiveId" clId="{054A0FD0-B662-4CE6-BBA9-FE85ACE9B85C}" dt="2023-09-26T06:22:40.498" v="318" actId="478"/>
          <ac:spMkLst>
            <pc:docMk/>
            <pc:sldMk cId="1909642302" sldId="2228"/>
            <ac:spMk id="19" creationId="{4C0915EF-19C9-2EED-AD84-20F58F7923CD}"/>
          </ac:spMkLst>
        </pc:spChg>
      </pc:sldChg>
      <pc:sldChg chg="addSp delSp modSp add del mod">
        <pc:chgData name="Aurelien Domont" userId="6da7715ce44349b3" providerId="LiveId" clId="{054A0FD0-B662-4CE6-BBA9-FE85ACE9B85C}" dt="2023-09-26T06:25:21.049" v="395" actId="20577"/>
        <pc:sldMkLst>
          <pc:docMk/>
          <pc:sldMk cId="166377701" sldId="2454"/>
        </pc:sldMkLst>
        <pc:spChg chg="add mod">
          <ac:chgData name="Aurelien Domont" userId="6da7715ce44349b3" providerId="LiveId" clId="{054A0FD0-B662-4CE6-BBA9-FE85ACE9B85C}" dt="2023-09-26T06:25:21.049" v="395" actId="20577"/>
          <ac:spMkLst>
            <pc:docMk/>
            <pc:sldMk cId="166377701" sldId="2454"/>
            <ac:spMk id="2" creationId="{B1E2ADC7-AB60-6FC5-7EDC-EE5B353E06C5}"/>
          </ac:spMkLst>
        </pc:spChg>
        <pc:spChg chg="mod">
          <ac:chgData name="Aurelien Domont" userId="6da7715ce44349b3" providerId="LiveId" clId="{054A0FD0-B662-4CE6-BBA9-FE85ACE9B85C}" dt="2022-10-27T05:56:40.044" v="5"/>
          <ac:spMkLst>
            <pc:docMk/>
            <pc:sldMk cId="166377701" sldId="2454"/>
            <ac:spMk id="3" creationId="{CE2529A3-BA97-486F-9E02-8DFAAA7D8D38}"/>
          </ac:spMkLst>
        </pc:spChg>
        <pc:spChg chg="mod">
          <ac:chgData name="Aurelien Domont" userId="6da7715ce44349b3" providerId="LiveId" clId="{054A0FD0-B662-4CE6-BBA9-FE85ACE9B85C}" dt="2023-09-26T06:18:07.335" v="142" actId="20577"/>
          <ac:spMkLst>
            <pc:docMk/>
            <pc:sldMk cId="166377701" sldId="2454"/>
            <ac:spMk id="16" creationId="{6C2BB713-9637-4B9B-938F-E9768876782A}"/>
          </ac:spMkLst>
        </pc:spChg>
        <pc:spChg chg="del">
          <ac:chgData name="Aurelien Domont" userId="6da7715ce44349b3" providerId="LiveId" clId="{054A0FD0-B662-4CE6-BBA9-FE85ACE9B85C}" dt="2023-09-26T06:18:09.803" v="143" actId="478"/>
          <ac:spMkLst>
            <pc:docMk/>
            <pc:sldMk cId="166377701" sldId="2454"/>
            <ac:spMk id="18" creationId="{A60814DE-6BB8-4E1F-9D11-286C8AE56C0F}"/>
          </ac:spMkLst>
        </pc:spChg>
        <pc:spChg chg="del">
          <ac:chgData name="Aurelien Domont" userId="6da7715ce44349b3" providerId="LiveId" clId="{054A0FD0-B662-4CE6-BBA9-FE85ACE9B85C}" dt="2023-09-26T06:18:09.803" v="143" actId="478"/>
          <ac:spMkLst>
            <pc:docMk/>
            <pc:sldMk cId="166377701" sldId="2454"/>
            <ac:spMk id="19" creationId="{1BB400A7-790A-4930-80C6-C28E59179B55}"/>
          </ac:spMkLst>
        </pc:spChg>
        <pc:spChg chg="del">
          <ac:chgData name="Aurelien Domont" userId="6da7715ce44349b3" providerId="LiveId" clId="{054A0FD0-B662-4CE6-BBA9-FE85ACE9B85C}" dt="2023-09-26T06:18:09.803" v="143" actId="478"/>
          <ac:spMkLst>
            <pc:docMk/>
            <pc:sldMk cId="166377701" sldId="2454"/>
            <ac:spMk id="20" creationId="{CFFF8C34-417D-49E9-8A0B-BE561DEA4E09}"/>
          </ac:spMkLst>
        </pc:spChg>
        <pc:spChg chg="del">
          <ac:chgData name="Aurelien Domont" userId="6da7715ce44349b3" providerId="LiveId" clId="{054A0FD0-B662-4CE6-BBA9-FE85ACE9B85C}" dt="2023-09-26T06:18:09.803" v="143" actId="478"/>
          <ac:spMkLst>
            <pc:docMk/>
            <pc:sldMk cId="166377701" sldId="2454"/>
            <ac:spMk id="30" creationId="{F373742D-587B-43EE-A7B2-82685317B8D6}"/>
          </ac:spMkLst>
        </pc:spChg>
      </pc:sldChg>
      <pc:sldChg chg="modSp add del">
        <pc:chgData name="Aurelien Domont" userId="6da7715ce44349b3" providerId="LiveId" clId="{054A0FD0-B662-4CE6-BBA9-FE85ACE9B85C}" dt="2022-10-27T05:56:40.044" v="5"/>
        <pc:sldMkLst>
          <pc:docMk/>
          <pc:sldMk cId="3176549573" sldId="2455"/>
        </pc:sldMkLst>
        <pc:spChg chg="mod">
          <ac:chgData name="Aurelien Domont" userId="6da7715ce44349b3" providerId="LiveId" clId="{054A0FD0-B662-4CE6-BBA9-FE85ACE9B85C}" dt="2022-10-27T05:56:40.044" v="5"/>
          <ac:spMkLst>
            <pc:docMk/>
            <pc:sldMk cId="3176549573" sldId="2455"/>
            <ac:spMk id="3" creationId="{CE2529A3-BA97-486F-9E02-8DFAAA7D8D38}"/>
          </ac:spMkLst>
        </pc:spChg>
        <pc:spChg chg="mod">
          <ac:chgData name="Aurelien Domont" userId="6da7715ce44349b3" providerId="LiveId" clId="{054A0FD0-B662-4CE6-BBA9-FE85ACE9B85C}" dt="2022-10-27T05:56:40.044" v="5"/>
          <ac:spMkLst>
            <pc:docMk/>
            <pc:sldMk cId="3176549573" sldId="2455"/>
            <ac:spMk id="16" creationId="{6C2BB713-9637-4B9B-938F-E9768876782A}"/>
          </ac:spMkLst>
        </pc:spChg>
      </pc:sldChg>
      <pc:sldChg chg="modSp add del mod">
        <pc:chgData name="Aurelien Domont" userId="6da7715ce44349b3" providerId="LiveId" clId="{054A0FD0-B662-4CE6-BBA9-FE85ACE9B85C}" dt="2023-09-26T06:24:00.247" v="385" actId="207"/>
        <pc:sldMkLst>
          <pc:docMk/>
          <pc:sldMk cId="970498837" sldId="2457"/>
        </pc:sldMkLst>
        <pc:spChg chg="mod">
          <ac:chgData name="Aurelien Domont" userId="6da7715ce44349b3" providerId="LiveId" clId="{054A0FD0-B662-4CE6-BBA9-FE85ACE9B85C}" dt="2022-10-27T05:56:40.044" v="5"/>
          <ac:spMkLst>
            <pc:docMk/>
            <pc:sldMk cId="970498837" sldId="2457"/>
            <ac:spMk id="3" creationId="{CE2529A3-BA97-486F-9E02-8DFAAA7D8D38}"/>
          </ac:spMkLst>
        </pc:spChg>
        <pc:spChg chg="mod">
          <ac:chgData name="Aurelien Domont" userId="6da7715ce44349b3" providerId="LiveId" clId="{054A0FD0-B662-4CE6-BBA9-FE85ACE9B85C}" dt="2023-09-26T06:24:00.247" v="385" actId="207"/>
          <ac:spMkLst>
            <pc:docMk/>
            <pc:sldMk cId="970498837" sldId="2457"/>
            <ac:spMk id="16" creationId="{6C2BB713-9637-4B9B-938F-E9768876782A}"/>
          </ac:spMkLst>
        </pc:spChg>
      </pc:sldChg>
      <pc:sldChg chg="addSp delSp modSp add del mod">
        <pc:chgData name="Aurelien Domont" userId="6da7715ce44349b3" providerId="LiveId" clId="{054A0FD0-B662-4CE6-BBA9-FE85ACE9B85C}" dt="2023-09-26T06:24:06.807" v="386" actId="207"/>
        <pc:sldMkLst>
          <pc:docMk/>
          <pc:sldMk cId="803861103" sldId="2458"/>
        </pc:sldMkLst>
        <pc:spChg chg="mod">
          <ac:chgData name="Aurelien Domont" userId="6da7715ce44349b3" providerId="LiveId" clId="{054A0FD0-B662-4CE6-BBA9-FE85ACE9B85C}" dt="2022-10-27T05:56:40.044" v="5"/>
          <ac:spMkLst>
            <pc:docMk/>
            <pc:sldMk cId="803861103" sldId="2458"/>
            <ac:spMk id="3" creationId="{CE2529A3-BA97-486F-9E02-8DFAAA7D8D38}"/>
          </ac:spMkLst>
        </pc:spChg>
        <pc:spChg chg="mod">
          <ac:chgData name="Aurelien Domont" userId="6da7715ce44349b3" providerId="LiveId" clId="{054A0FD0-B662-4CE6-BBA9-FE85ACE9B85C}" dt="2023-09-26T06:24:06.807" v="386" actId="207"/>
          <ac:spMkLst>
            <pc:docMk/>
            <pc:sldMk cId="803861103" sldId="2458"/>
            <ac:spMk id="16" creationId="{6C2BB713-9637-4B9B-938F-E9768876782A}"/>
          </ac:spMkLst>
        </pc:spChg>
        <pc:spChg chg="add del mod">
          <ac:chgData name="Aurelien Domont" userId="6da7715ce44349b3" providerId="LiveId" clId="{054A0FD0-B662-4CE6-BBA9-FE85ACE9B85C}" dt="2023-09-26T06:15:08.655" v="133" actId="478"/>
          <ac:spMkLst>
            <pc:docMk/>
            <pc:sldMk cId="803861103" sldId="2458"/>
            <ac:spMk id="18" creationId="{C1095FF3-5324-C814-17A9-ED56DA9D2297}"/>
          </ac:spMkLst>
        </pc:spChg>
        <pc:spChg chg="add del mod">
          <ac:chgData name="Aurelien Domont" userId="6da7715ce44349b3" providerId="LiveId" clId="{054A0FD0-B662-4CE6-BBA9-FE85ACE9B85C}" dt="2023-09-26T06:15:08.655" v="133" actId="478"/>
          <ac:spMkLst>
            <pc:docMk/>
            <pc:sldMk cId="803861103" sldId="2458"/>
            <ac:spMk id="19" creationId="{A1E04D5F-EE62-735D-AC0C-A9237DC862F3}"/>
          </ac:spMkLst>
        </pc:spChg>
        <pc:spChg chg="add del mod">
          <ac:chgData name="Aurelien Domont" userId="6da7715ce44349b3" providerId="LiveId" clId="{054A0FD0-B662-4CE6-BBA9-FE85ACE9B85C}" dt="2023-09-26T06:15:08.655" v="133" actId="478"/>
          <ac:spMkLst>
            <pc:docMk/>
            <pc:sldMk cId="803861103" sldId="2458"/>
            <ac:spMk id="20" creationId="{F44D3808-FD76-CD46-0DD6-B972F42F8B7B}"/>
          </ac:spMkLst>
        </pc:spChg>
        <pc:spChg chg="add del mod">
          <ac:chgData name="Aurelien Domont" userId="6da7715ce44349b3" providerId="LiveId" clId="{054A0FD0-B662-4CE6-BBA9-FE85ACE9B85C}" dt="2023-09-26T06:15:08.655" v="133" actId="478"/>
          <ac:spMkLst>
            <pc:docMk/>
            <pc:sldMk cId="803861103" sldId="2458"/>
            <ac:spMk id="21" creationId="{799692E4-64D6-1B5E-4ACE-45AD004DCC01}"/>
          </ac:spMkLst>
        </pc:spChg>
        <pc:spChg chg="add del mod">
          <ac:chgData name="Aurelien Domont" userId="6da7715ce44349b3" providerId="LiveId" clId="{054A0FD0-B662-4CE6-BBA9-FE85ACE9B85C}" dt="2023-09-26T06:15:08.655" v="133" actId="478"/>
          <ac:spMkLst>
            <pc:docMk/>
            <pc:sldMk cId="803861103" sldId="2458"/>
            <ac:spMk id="22" creationId="{97EC7741-E4B1-9FCF-7714-E0CBC6AD0C32}"/>
          </ac:spMkLst>
        </pc:spChg>
      </pc:sldChg>
      <pc:sldChg chg="addSp modSp add del mod">
        <pc:chgData name="Aurelien Domont" userId="6da7715ce44349b3" providerId="LiveId" clId="{054A0FD0-B662-4CE6-BBA9-FE85ACE9B85C}" dt="2023-09-26T06:24:13.170" v="387" actId="207"/>
        <pc:sldMkLst>
          <pc:docMk/>
          <pc:sldMk cId="992589810" sldId="2459"/>
        </pc:sldMkLst>
        <pc:spChg chg="mod">
          <ac:chgData name="Aurelien Domont" userId="6da7715ce44349b3" providerId="LiveId" clId="{054A0FD0-B662-4CE6-BBA9-FE85ACE9B85C}" dt="2022-10-27T05:56:40.044" v="5"/>
          <ac:spMkLst>
            <pc:docMk/>
            <pc:sldMk cId="992589810" sldId="2459"/>
            <ac:spMk id="3" creationId="{CE2529A3-BA97-486F-9E02-8DFAAA7D8D38}"/>
          </ac:spMkLst>
        </pc:spChg>
        <pc:spChg chg="mod">
          <ac:chgData name="Aurelien Domont" userId="6da7715ce44349b3" providerId="LiveId" clId="{054A0FD0-B662-4CE6-BBA9-FE85ACE9B85C}" dt="2023-09-26T06:24:13.170" v="387" actId="207"/>
          <ac:spMkLst>
            <pc:docMk/>
            <pc:sldMk cId="992589810" sldId="2459"/>
            <ac:spMk id="16" creationId="{6C2BB713-9637-4B9B-938F-E9768876782A}"/>
          </ac:spMkLst>
        </pc:spChg>
        <pc:spChg chg="add mod">
          <ac:chgData name="Aurelien Domont" userId="6da7715ce44349b3" providerId="LiveId" clId="{054A0FD0-B662-4CE6-BBA9-FE85ACE9B85C}" dt="2023-09-26T06:14:27.792" v="131"/>
          <ac:spMkLst>
            <pc:docMk/>
            <pc:sldMk cId="992589810" sldId="2459"/>
            <ac:spMk id="17" creationId="{E83B30E5-CEA1-3E0E-F505-BB2C73C4A1B6}"/>
          </ac:spMkLst>
        </pc:spChg>
        <pc:spChg chg="add mod">
          <ac:chgData name="Aurelien Domont" userId="6da7715ce44349b3" providerId="LiveId" clId="{054A0FD0-B662-4CE6-BBA9-FE85ACE9B85C}" dt="2023-09-26T06:14:27.792" v="131"/>
          <ac:spMkLst>
            <pc:docMk/>
            <pc:sldMk cId="992589810" sldId="2459"/>
            <ac:spMk id="18" creationId="{C82BA519-AFF3-CB0A-9D10-3D607D456474}"/>
          </ac:spMkLst>
        </pc:spChg>
        <pc:spChg chg="add mod">
          <ac:chgData name="Aurelien Domont" userId="6da7715ce44349b3" providerId="LiveId" clId="{054A0FD0-B662-4CE6-BBA9-FE85ACE9B85C}" dt="2023-09-26T06:14:27.792" v="131"/>
          <ac:spMkLst>
            <pc:docMk/>
            <pc:sldMk cId="992589810" sldId="2459"/>
            <ac:spMk id="19" creationId="{3EB86040-40D7-AE3D-5AF4-C5BBBDD30594}"/>
          </ac:spMkLst>
        </pc:spChg>
        <pc:spChg chg="add mod">
          <ac:chgData name="Aurelien Domont" userId="6da7715ce44349b3" providerId="LiveId" clId="{054A0FD0-B662-4CE6-BBA9-FE85ACE9B85C}" dt="2023-09-26T06:14:27.792" v="131"/>
          <ac:spMkLst>
            <pc:docMk/>
            <pc:sldMk cId="992589810" sldId="2459"/>
            <ac:spMk id="20" creationId="{033F0AD4-4A36-BFF6-4B3D-BE107EFAD23E}"/>
          </ac:spMkLst>
        </pc:spChg>
        <pc:spChg chg="add mod">
          <ac:chgData name="Aurelien Domont" userId="6da7715ce44349b3" providerId="LiveId" clId="{054A0FD0-B662-4CE6-BBA9-FE85ACE9B85C}" dt="2023-09-26T06:14:27.792" v="131"/>
          <ac:spMkLst>
            <pc:docMk/>
            <pc:sldMk cId="992589810" sldId="2459"/>
            <ac:spMk id="21" creationId="{EAA9DAA8-E004-8CD7-0CC8-45635D08929F}"/>
          </ac:spMkLst>
        </pc:spChg>
      </pc:sldChg>
      <pc:sldChg chg="modSp add del">
        <pc:chgData name="Aurelien Domont" userId="6da7715ce44349b3" providerId="LiveId" clId="{054A0FD0-B662-4CE6-BBA9-FE85ACE9B85C}" dt="2023-09-26T06:20:27.997" v="250" actId="47"/>
        <pc:sldMkLst>
          <pc:docMk/>
          <pc:sldMk cId="4176761263" sldId="2475"/>
        </pc:sldMkLst>
        <pc:spChg chg="mod">
          <ac:chgData name="Aurelien Domont" userId="6da7715ce44349b3" providerId="LiveId" clId="{054A0FD0-B662-4CE6-BBA9-FE85ACE9B85C}" dt="2022-10-27T05:56:40.044" v="5"/>
          <ac:spMkLst>
            <pc:docMk/>
            <pc:sldMk cId="4176761263" sldId="2475"/>
            <ac:spMk id="3" creationId="{CE2529A3-BA97-486F-9E02-8DFAAA7D8D38}"/>
          </ac:spMkLst>
        </pc:spChg>
        <pc:spChg chg="mod">
          <ac:chgData name="Aurelien Domont" userId="6da7715ce44349b3" providerId="LiveId" clId="{054A0FD0-B662-4CE6-BBA9-FE85ACE9B85C}" dt="2022-10-27T05:56:40.044" v="5"/>
          <ac:spMkLst>
            <pc:docMk/>
            <pc:sldMk cId="4176761263" sldId="2475"/>
            <ac:spMk id="16" creationId="{6C2BB713-9637-4B9B-938F-E9768876782A}"/>
          </ac:spMkLst>
        </pc:spChg>
      </pc:sldChg>
      <pc:sldChg chg="delSp modSp add del mod">
        <pc:chgData name="Aurelien Domont" userId="6da7715ce44349b3" providerId="LiveId" clId="{054A0FD0-B662-4CE6-BBA9-FE85ACE9B85C}" dt="2023-09-26T06:31:43.241" v="560" actId="20577"/>
        <pc:sldMkLst>
          <pc:docMk/>
          <pc:sldMk cId="4286225032" sldId="2488"/>
        </pc:sldMkLst>
        <pc:spChg chg="mod">
          <ac:chgData name="Aurelien Domont" userId="6da7715ce44349b3" providerId="LiveId" clId="{054A0FD0-B662-4CE6-BBA9-FE85ACE9B85C}" dt="2022-10-27T05:56:40.044" v="5"/>
          <ac:spMkLst>
            <pc:docMk/>
            <pc:sldMk cId="4286225032" sldId="2488"/>
            <ac:spMk id="3" creationId="{CE2529A3-BA97-486F-9E02-8DFAAA7D8D38}"/>
          </ac:spMkLst>
        </pc:spChg>
        <pc:spChg chg="mod">
          <ac:chgData name="Aurelien Domont" userId="6da7715ce44349b3" providerId="LiveId" clId="{054A0FD0-B662-4CE6-BBA9-FE85ACE9B85C}" dt="2023-09-26T06:29:21.718" v="529" actId="403"/>
          <ac:spMkLst>
            <pc:docMk/>
            <pc:sldMk cId="4286225032" sldId="2488"/>
            <ac:spMk id="4" creationId="{450DED1D-7433-0881-7109-87D0309E6207}"/>
          </ac:spMkLst>
        </pc:spChg>
        <pc:spChg chg="mod">
          <ac:chgData name="Aurelien Domont" userId="6da7715ce44349b3" providerId="LiveId" clId="{054A0FD0-B662-4CE6-BBA9-FE85ACE9B85C}" dt="2023-09-26T06:29:21.718" v="529" actId="403"/>
          <ac:spMkLst>
            <pc:docMk/>
            <pc:sldMk cId="4286225032" sldId="2488"/>
            <ac:spMk id="5" creationId="{E6F70B8F-713B-296D-0492-8993208F7402}"/>
          </ac:spMkLst>
        </pc:spChg>
        <pc:spChg chg="mod">
          <ac:chgData name="Aurelien Domont" userId="6da7715ce44349b3" providerId="LiveId" clId="{054A0FD0-B662-4CE6-BBA9-FE85ACE9B85C}" dt="2023-09-26T06:29:21.718" v="529" actId="403"/>
          <ac:spMkLst>
            <pc:docMk/>
            <pc:sldMk cId="4286225032" sldId="2488"/>
            <ac:spMk id="6" creationId="{3C7E915A-0CF2-A92C-C7DF-3FA9E5CAE3BC}"/>
          </ac:spMkLst>
        </pc:spChg>
        <pc:spChg chg="mod">
          <ac:chgData name="Aurelien Domont" userId="6da7715ce44349b3" providerId="LiveId" clId="{054A0FD0-B662-4CE6-BBA9-FE85ACE9B85C}" dt="2023-09-26T06:29:21.718" v="529" actId="403"/>
          <ac:spMkLst>
            <pc:docMk/>
            <pc:sldMk cId="4286225032" sldId="2488"/>
            <ac:spMk id="7" creationId="{6D4B381E-B31C-4A84-282E-9706A4A2593A}"/>
          </ac:spMkLst>
        </pc:spChg>
        <pc:spChg chg="mod">
          <ac:chgData name="Aurelien Domont" userId="6da7715ce44349b3" providerId="LiveId" clId="{054A0FD0-B662-4CE6-BBA9-FE85ACE9B85C}" dt="2023-09-26T06:29:21.718" v="529" actId="403"/>
          <ac:spMkLst>
            <pc:docMk/>
            <pc:sldMk cId="4286225032" sldId="2488"/>
            <ac:spMk id="8" creationId="{F08FC16F-3AC8-20C1-5A53-FBA2855D71C3}"/>
          </ac:spMkLst>
        </pc:spChg>
        <pc:spChg chg="del">
          <ac:chgData name="Aurelien Domont" userId="6da7715ce44349b3" providerId="LiveId" clId="{054A0FD0-B662-4CE6-BBA9-FE85ACE9B85C}" dt="2023-09-26T06:27:51.409" v="479" actId="478"/>
          <ac:spMkLst>
            <pc:docMk/>
            <pc:sldMk cId="4286225032" sldId="2488"/>
            <ac:spMk id="10" creationId="{9BFA34DA-C6B5-7AD3-D4C6-7CD4CEB2F20F}"/>
          </ac:spMkLst>
        </pc:spChg>
        <pc:spChg chg="del">
          <ac:chgData name="Aurelien Domont" userId="6da7715ce44349b3" providerId="LiveId" clId="{054A0FD0-B662-4CE6-BBA9-FE85ACE9B85C}" dt="2023-09-26T06:27:51.409" v="479" actId="478"/>
          <ac:spMkLst>
            <pc:docMk/>
            <pc:sldMk cId="4286225032" sldId="2488"/>
            <ac:spMk id="14" creationId="{E019DCCC-BCF5-9FDF-A729-9253255ED9CB}"/>
          </ac:spMkLst>
        </pc:spChg>
        <pc:spChg chg="mod">
          <ac:chgData name="Aurelien Domont" userId="6da7715ce44349b3" providerId="LiveId" clId="{054A0FD0-B662-4CE6-BBA9-FE85ACE9B85C}" dt="2023-09-26T06:31:43.241" v="560" actId="20577"/>
          <ac:spMkLst>
            <pc:docMk/>
            <pc:sldMk cId="4286225032" sldId="2488"/>
            <ac:spMk id="16" creationId="{6C2BB713-9637-4B9B-938F-E9768876782A}"/>
          </ac:spMkLst>
        </pc:spChg>
        <pc:spChg chg="mod">
          <ac:chgData name="Aurelien Domont" userId="6da7715ce44349b3" providerId="LiveId" clId="{054A0FD0-B662-4CE6-BBA9-FE85ACE9B85C}" dt="2023-09-26T06:29:21.718" v="529" actId="403"/>
          <ac:spMkLst>
            <pc:docMk/>
            <pc:sldMk cId="4286225032" sldId="2488"/>
            <ac:spMk id="46" creationId="{F5350A74-F832-4786-AC3A-C3E1408947E8}"/>
          </ac:spMkLst>
        </pc:spChg>
        <pc:spChg chg="mod">
          <ac:chgData name="Aurelien Domont" userId="6da7715ce44349b3" providerId="LiveId" clId="{054A0FD0-B662-4CE6-BBA9-FE85ACE9B85C}" dt="2023-09-26T06:29:21.718" v="529" actId="403"/>
          <ac:spMkLst>
            <pc:docMk/>
            <pc:sldMk cId="4286225032" sldId="2488"/>
            <ac:spMk id="47" creationId="{75B0660F-9007-45EB-B48F-4147D7445E71}"/>
          </ac:spMkLst>
        </pc:spChg>
        <pc:spChg chg="mod">
          <ac:chgData name="Aurelien Domont" userId="6da7715ce44349b3" providerId="LiveId" clId="{054A0FD0-B662-4CE6-BBA9-FE85ACE9B85C}" dt="2023-09-26T06:29:21.718" v="529" actId="403"/>
          <ac:spMkLst>
            <pc:docMk/>
            <pc:sldMk cId="4286225032" sldId="2488"/>
            <ac:spMk id="48" creationId="{B3D120D9-049C-4562-A96C-9D4A8BE7DDBA}"/>
          </ac:spMkLst>
        </pc:spChg>
        <pc:spChg chg="mod">
          <ac:chgData name="Aurelien Domont" userId="6da7715ce44349b3" providerId="LiveId" clId="{054A0FD0-B662-4CE6-BBA9-FE85ACE9B85C}" dt="2023-09-26T06:29:21.718" v="529" actId="403"/>
          <ac:spMkLst>
            <pc:docMk/>
            <pc:sldMk cId="4286225032" sldId="2488"/>
            <ac:spMk id="49" creationId="{E4D4BC6E-392D-4DA1-A71F-317910F8195E}"/>
          </ac:spMkLst>
        </pc:spChg>
      </pc:sldChg>
      <pc:sldChg chg="addSp delSp modSp add del mod">
        <pc:chgData name="Aurelien Domont" userId="6da7715ce44349b3" providerId="LiveId" clId="{054A0FD0-B662-4CE6-BBA9-FE85ACE9B85C}" dt="2023-09-26T06:31:47.538" v="562"/>
        <pc:sldMkLst>
          <pc:docMk/>
          <pc:sldMk cId="3340023768" sldId="2489"/>
        </pc:sldMkLst>
        <pc:spChg chg="mod">
          <ac:chgData name="Aurelien Domont" userId="6da7715ce44349b3" providerId="LiveId" clId="{054A0FD0-B662-4CE6-BBA9-FE85ACE9B85C}" dt="2022-10-27T05:56:40.044" v="5"/>
          <ac:spMkLst>
            <pc:docMk/>
            <pc:sldMk cId="3340023768" sldId="2489"/>
            <ac:spMk id="3" creationId="{CE2529A3-BA97-486F-9E02-8DFAAA7D8D38}"/>
          </ac:spMkLst>
        </pc:spChg>
        <pc:spChg chg="mod">
          <ac:chgData name="Aurelien Domont" userId="6da7715ce44349b3" providerId="LiveId" clId="{054A0FD0-B662-4CE6-BBA9-FE85ACE9B85C}" dt="2023-09-26T06:30:13.356" v="547" actId="11"/>
          <ac:spMkLst>
            <pc:docMk/>
            <pc:sldMk cId="3340023768" sldId="2489"/>
            <ac:spMk id="4" creationId="{450DED1D-7433-0881-7109-87D0309E6207}"/>
          </ac:spMkLst>
        </pc:spChg>
        <pc:spChg chg="mod">
          <ac:chgData name="Aurelien Domont" userId="6da7715ce44349b3" providerId="LiveId" clId="{054A0FD0-B662-4CE6-BBA9-FE85ACE9B85C}" dt="2023-09-26T06:30:13.356" v="547" actId="11"/>
          <ac:spMkLst>
            <pc:docMk/>
            <pc:sldMk cId="3340023768" sldId="2489"/>
            <ac:spMk id="5" creationId="{E6F70B8F-713B-296D-0492-8993208F7402}"/>
          </ac:spMkLst>
        </pc:spChg>
        <pc:spChg chg="mod">
          <ac:chgData name="Aurelien Domont" userId="6da7715ce44349b3" providerId="LiveId" clId="{054A0FD0-B662-4CE6-BBA9-FE85ACE9B85C}" dt="2023-09-26T06:30:13.356" v="547" actId="11"/>
          <ac:spMkLst>
            <pc:docMk/>
            <pc:sldMk cId="3340023768" sldId="2489"/>
            <ac:spMk id="6" creationId="{3C7E915A-0CF2-A92C-C7DF-3FA9E5CAE3BC}"/>
          </ac:spMkLst>
        </pc:spChg>
        <pc:spChg chg="mod">
          <ac:chgData name="Aurelien Domont" userId="6da7715ce44349b3" providerId="LiveId" clId="{054A0FD0-B662-4CE6-BBA9-FE85ACE9B85C}" dt="2023-09-26T06:30:13.356" v="547" actId="11"/>
          <ac:spMkLst>
            <pc:docMk/>
            <pc:sldMk cId="3340023768" sldId="2489"/>
            <ac:spMk id="7" creationId="{6D4B381E-B31C-4A84-282E-9706A4A2593A}"/>
          </ac:spMkLst>
        </pc:spChg>
        <pc:spChg chg="mod">
          <ac:chgData name="Aurelien Domont" userId="6da7715ce44349b3" providerId="LiveId" clId="{054A0FD0-B662-4CE6-BBA9-FE85ACE9B85C}" dt="2023-09-26T06:30:13.356" v="547" actId="11"/>
          <ac:spMkLst>
            <pc:docMk/>
            <pc:sldMk cId="3340023768" sldId="2489"/>
            <ac:spMk id="8" creationId="{F08FC16F-3AC8-20C1-5A53-FBA2855D71C3}"/>
          </ac:spMkLst>
        </pc:spChg>
        <pc:spChg chg="add del">
          <ac:chgData name="Aurelien Domont" userId="6da7715ce44349b3" providerId="LiveId" clId="{054A0FD0-B662-4CE6-BBA9-FE85ACE9B85C}" dt="2023-09-26T06:29:43.506" v="537" actId="22"/>
          <ac:spMkLst>
            <pc:docMk/>
            <pc:sldMk cId="3340023768" sldId="2489"/>
            <ac:spMk id="14" creationId="{8E876E29-F1FB-F771-C4D3-409C67AD8016}"/>
          </ac:spMkLst>
        </pc:spChg>
        <pc:spChg chg="mod">
          <ac:chgData name="Aurelien Domont" userId="6da7715ce44349b3" providerId="LiveId" clId="{054A0FD0-B662-4CE6-BBA9-FE85ACE9B85C}" dt="2023-09-26T06:30:38.747" v="550" actId="2085"/>
          <ac:spMkLst>
            <pc:docMk/>
            <pc:sldMk cId="3340023768" sldId="2489"/>
            <ac:spMk id="15" creationId="{B40BD74F-CE9F-06B0-BA46-344A18E9D8EA}"/>
          </ac:spMkLst>
        </pc:spChg>
        <pc:spChg chg="mod">
          <ac:chgData name="Aurelien Domont" userId="6da7715ce44349b3" providerId="LiveId" clId="{054A0FD0-B662-4CE6-BBA9-FE85ACE9B85C}" dt="2023-09-26T06:31:47.538" v="562"/>
          <ac:spMkLst>
            <pc:docMk/>
            <pc:sldMk cId="3340023768" sldId="2489"/>
            <ac:spMk id="16" creationId="{6C2BB713-9637-4B9B-938F-E9768876782A}"/>
          </ac:spMkLst>
        </pc:spChg>
        <pc:spChg chg="mod">
          <ac:chgData name="Aurelien Domont" userId="6da7715ce44349b3" providerId="LiveId" clId="{054A0FD0-B662-4CE6-BBA9-FE85ACE9B85C}" dt="2023-09-26T06:30:38.747" v="550" actId="2085"/>
          <ac:spMkLst>
            <pc:docMk/>
            <pc:sldMk cId="3340023768" sldId="2489"/>
            <ac:spMk id="18" creationId="{15884FE4-C297-D341-D681-CC950E5D8A51}"/>
          </ac:spMkLst>
        </pc:spChg>
        <pc:spChg chg="mod">
          <ac:chgData name="Aurelien Domont" userId="6da7715ce44349b3" providerId="LiveId" clId="{054A0FD0-B662-4CE6-BBA9-FE85ACE9B85C}" dt="2023-09-26T06:30:38.747" v="550" actId="2085"/>
          <ac:spMkLst>
            <pc:docMk/>
            <pc:sldMk cId="3340023768" sldId="2489"/>
            <ac:spMk id="19" creationId="{C0D4FCF5-EC36-4EEE-4BC3-8AD39CFF90A7}"/>
          </ac:spMkLst>
        </pc:spChg>
        <pc:spChg chg="mod">
          <ac:chgData name="Aurelien Domont" userId="6da7715ce44349b3" providerId="LiveId" clId="{054A0FD0-B662-4CE6-BBA9-FE85ACE9B85C}" dt="2023-09-26T06:30:38.747" v="550" actId="2085"/>
          <ac:spMkLst>
            <pc:docMk/>
            <pc:sldMk cId="3340023768" sldId="2489"/>
            <ac:spMk id="20" creationId="{06700B5C-5E66-A35C-1B1C-D48F0C01473D}"/>
          </ac:spMkLst>
        </pc:spChg>
        <pc:spChg chg="add del">
          <ac:chgData name="Aurelien Domont" userId="6da7715ce44349b3" providerId="LiveId" clId="{054A0FD0-B662-4CE6-BBA9-FE85ACE9B85C}" dt="2023-09-26T06:29:48.577" v="541" actId="22"/>
          <ac:spMkLst>
            <pc:docMk/>
            <pc:sldMk cId="3340023768" sldId="2489"/>
            <ac:spMk id="22" creationId="{45646A5C-461B-7E5A-C051-97C087BB9493}"/>
          </ac:spMkLst>
        </pc:spChg>
        <pc:spChg chg="mod">
          <ac:chgData name="Aurelien Domont" userId="6da7715ce44349b3" providerId="LiveId" clId="{054A0FD0-B662-4CE6-BBA9-FE85ACE9B85C}" dt="2023-09-26T06:30:13.356" v="547" actId="11"/>
          <ac:spMkLst>
            <pc:docMk/>
            <pc:sldMk cId="3340023768" sldId="2489"/>
            <ac:spMk id="46" creationId="{F5350A74-F832-4786-AC3A-C3E1408947E8}"/>
          </ac:spMkLst>
        </pc:spChg>
        <pc:spChg chg="mod">
          <ac:chgData name="Aurelien Domont" userId="6da7715ce44349b3" providerId="LiveId" clId="{054A0FD0-B662-4CE6-BBA9-FE85ACE9B85C}" dt="2023-09-26T06:30:13.356" v="547" actId="11"/>
          <ac:spMkLst>
            <pc:docMk/>
            <pc:sldMk cId="3340023768" sldId="2489"/>
            <ac:spMk id="47" creationId="{75B0660F-9007-45EB-B48F-4147D7445E71}"/>
          </ac:spMkLst>
        </pc:spChg>
        <pc:spChg chg="mod">
          <ac:chgData name="Aurelien Domont" userId="6da7715ce44349b3" providerId="LiveId" clId="{054A0FD0-B662-4CE6-BBA9-FE85ACE9B85C}" dt="2023-09-26T06:30:13.356" v="547" actId="11"/>
          <ac:spMkLst>
            <pc:docMk/>
            <pc:sldMk cId="3340023768" sldId="2489"/>
            <ac:spMk id="48" creationId="{B3D120D9-049C-4562-A96C-9D4A8BE7DDBA}"/>
          </ac:spMkLst>
        </pc:spChg>
        <pc:spChg chg="mod">
          <ac:chgData name="Aurelien Domont" userId="6da7715ce44349b3" providerId="LiveId" clId="{054A0FD0-B662-4CE6-BBA9-FE85ACE9B85C}" dt="2023-09-26T06:30:13.356" v="547" actId="11"/>
          <ac:spMkLst>
            <pc:docMk/>
            <pc:sldMk cId="3340023768" sldId="2489"/>
            <ac:spMk id="49" creationId="{E4D4BC6E-392D-4DA1-A71F-317910F8195E}"/>
          </ac:spMkLst>
        </pc:spChg>
      </pc:sldChg>
      <pc:sldChg chg="addSp delSp modSp add mod setBg">
        <pc:chgData name="Aurelien Domont" userId="6da7715ce44349b3" providerId="LiveId" clId="{054A0FD0-B662-4CE6-BBA9-FE85ACE9B85C}" dt="2023-09-26T06:39:07.700" v="582" actId="1037"/>
        <pc:sldMkLst>
          <pc:docMk/>
          <pc:sldMk cId="1365513723" sldId="2490"/>
        </pc:sldMkLst>
        <pc:spChg chg="del mod">
          <ac:chgData name="Aurelien Domont" userId="6da7715ce44349b3" providerId="LiveId" clId="{054A0FD0-B662-4CE6-BBA9-FE85ACE9B85C}" dt="2023-09-26T06:31:09.349" v="551" actId="478"/>
          <ac:spMkLst>
            <pc:docMk/>
            <pc:sldMk cId="1365513723" sldId="2490"/>
            <ac:spMk id="3" creationId="{CE2529A3-BA97-486F-9E02-8DFAAA7D8D38}"/>
          </ac:spMkLst>
        </pc:spChg>
        <pc:spChg chg="mod">
          <ac:chgData name="Aurelien Domont" userId="6da7715ce44349b3" providerId="LiveId" clId="{054A0FD0-B662-4CE6-BBA9-FE85ACE9B85C}" dt="2023-09-26T06:38:24.763" v="563"/>
          <ac:spMkLst>
            <pc:docMk/>
            <pc:sldMk cId="1365513723" sldId="2490"/>
            <ac:spMk id="10" creationId="{D2B71DD1-A6F8-B9B5-86AE-35512A6E60A5}"/>
          </ac:spMkLst>
        </pc:spChg>
        <pc:spChg chg="mod">
          <ac:chgData name="Aurelien Domont" userId="6da7715ce44349b3" providerId="LiveId" clId="{054A0FD0-B662-4CE6-BBA9-FE85ACE9B85C}" dt="2023-09-26T06:38:24.763" v="563"/>
          <ac:spMkLst>
            <pc:docMk/>
            <pc:sldMk cId="1365513723" sldId="2490"/>
            <ac:spMk id="14" creationId="{D6CDE8B6-FE60-1FC5-082E-EDA9711FC8A0}"/>
          </ac:spMkLst>
        </pc:spChg>
        <pc:spChg chg="mod">
          <ac:chgData name="Aurelien Domont" userId="6da7715ce44349b3" providerId="LiveId" clId="{054A0FD0-B662-4CE6-BBA9-FE85ACE9B85C}" dt="2023-09-26T06:38:24.763" v="563"/>
          <ac:spMkLst>
            <pc:docMk/>
            <pc:sldMk cId="1365513723" sldId="2490"/>
            <ac:spMk id="15" creationId="{0FC0BCA5-E6A4-98BF-87CF-B98A10118169}"/>
          </ac:spMkLst>
        </pc:spChg>
        <pc:spChg chg="mod">
          <ac:chgData name="Aurelien Domont" userId="6da7715ce44349b3" providerId="LiveId" clId="{054A0FD0-B662-4CE6-BBA9-FE85ACE9B85C}" dt="2023-09-26T06:38:56.802" v="574" actId="179"/>
          <ac:spMkLst>
            <pc:docMk/>
            <pc:sldMk cId="1365513723" sldId="2490"/>
            <ac:spMk id="16" creationId="{6C2BB713-9637-4B9B-938F-E9768876782A}"/>
          </ac:spMkLst>
        </pc:spChg>
        <pc:spChg chg="mod">
          <ac:chgData name="Aurelien Domont" userId="6da7715ce44349b3" providerId="LiveId" clId="{054A0FD0-B662-4CE6-BBA9-FE85ACE9B85C}" dt="2023-09-26T06:38:24.763" v="563"/>
          <ac:spMkLst>
            <pc:docMk/>
            <pc:sldMk cId="1365513723" sldId="2490"/>
            <ac:spMk id="17" creationId="{72D4E2F2-1C67-E664-37FE-88B885C218D4}"/>
          </ac:spMkLst>
        </pc:spChg>
        <pc:spChg chg="mod">
          <ac:chgData name="Aurelien Domont" userId="6da7715ce44349b3" providerId="LiveId" clId="{054A0FD0-B662-4CE6-BBA9-FE85ACE9B85C}" dt="2023-09-26T06:38:24.763" v="563"/>
          <ac:spMkLst>
            <pc:docMk/>
            <pc:sldMk cId="1365513723" sldId="2490"/>
            <ac:spMk id="18" creationId="{7C50FC73-A9BA-9E49-E3C3-C997C7025D98}"/>
          </ac:spMkLst>
        </pc:spChg>
        <pc:spChg chg="mod">
          <ac:chgData name="Aurelien Domont" userId="6da7715ce44349b3" providerId="LiveId" clId="{054A0FD0-B662-4CE6-BBA9-FE85ACE9B85C}" dt="2023-09-26T06:38:24.763" v="563"/>
          <ac:spMkLst>
            <pc:docMk/>
            <pc:sldMk cId="1365513723" sldId="2490"/>
            <ac:spMk id="19" creationId="{AC7F6FC9-C1CF-A48C-D285-43A15F2D59C7}"/>
          </ac:spMkLst>
        </pc:spChg>
        <pc:grpChg chg="add mod">
          <ac:chgData name="Aurelien Domont" userId="6da7715ce44349b3" providerId="LiveId" clId="{054A0FD0-B662-4CE6-BBA9-FE85ACE9B85C}" dt="2023-09-26T06:39:07.700" v="582" actId="1037"/>
          <ac:grpSpMkLst>
            <pc:docMk/>
            <pc:sldMk cId="1365513723" sldId="2490"/>
            <ac:grpSpMk id="3" creationId="{FD51CB25-75F5-656F-25DC-502FEC9A6FD4}"/>
          </ac:grpSpMkLst>
        </pc:grpChg>
        <pc:picChg chg="add mod">
          <ac:chgData name="Aurelien Domont" userId="6da7715ce44349b3" providerId="LiveId" clId="{054A0FD0-B662-4CE6-BBA9-FE85ACE9B85C}" dt="2023-09-26T06:25:32.890" v="396" actId="14100"/>
          <ac:picMkLst>
            <pc:docMk/>
            <pc:sldMk cId="1365513723" sldId="2490"/>
            <ac:picMk id="2" creationId="{29780F9A-A116-356F-BBEE-7685FD0685AB}"/>
          </ac:picMkLst>
        </pc:picChg>
        <pc:picChg chg="mod">
          <ac:chgData name="Aurelien Domont" userId="6da7715ce44349b3" providerId="LiveId" clId="{054A0FD0-B662-4CE6-BBA9-FE85ACE9B85C}" dt="2023-09-26T06:38:39.353" v="567" actId="14861"/>
          <ac:picMkLst>
            <pc:docMk/>
            <pc:sldMk cId="1365513723" sldId="2490"/>
            <ac:picMk id="20" creationId="{FCD2DB95-EAF9-202C-0943-C9A2401DBCF6}"/>
          </ac:picMkLst>
        </pc:picChg>
      </pc:sldChg>
      <pc:sldChg chg="add">
        <pc:chgData name="Aurelien Domont" userId="6da7715ce44349b3" providerId="LiveId" clId="{054A0FD0-B662-4CE6-BBA9-FE85ACE9B85C}" dt="2023-09-26T06:18:04.066" v="135"/>
        <pc:sldMkLst>
          <pc:docMk/>
          <pc:sldMk cId="2601306669" sldId="2491"/>
        </pc:sldMkLst>
      </pc:sldChg>
      <pc:sldChg chg="addSp delSp modSp add del mod">
        <pc:chgData name="Aurelien Domont" userId="6da7715ce44349b3" providerId="LiveId" clId="{054A0FD0-B662-4CE6-BBA9-FE85ACE9B85C}" dt="2023-09-26T06:09:59.658" v="130" actId="47"/>
        <pc:sldMkLst>
          <pc:docMk/>
          <pc:sldMk cId="1103313753" sldId="3333"/>
        </pc:sldMkLst>
        <pc:spChg chg="add del mod">
          <ac:chgData name="Aurelien Domont" userId="6da7715ce44349b3" providerId="LiveId" clId="{054A0FD0-B662-4CE6-BBA9-FE85ACE9B85C}" dt="2023-09-26T06:09:42.921" v="126" actId="478"/>
          <ac:spMkLst>
            <pc:docMk/>
            <pc:sldMk cId="1103313753" sldId="3333"/>
            <ac:spMk id="2" creationId="{5D964140-F162-5DF7-47FD-F3244FB4A965}"/>
          </ac:spMkLst>
        </pc:spChg>
        <pc:spChg chg="add del mod">
          <ac:chgData name="Aurelien Domont" userId="6da7715ce44349b3" providerId="LiveId" clId="{054A0FD0-B662-4CE6-BBA9-FE85ACE9B85C}" dt="2023-09-26T06:09:42.921" v="126" actId="478"/>
          <ac:spMkLst>
            <pc:docMk/>
            <pc:sldMk cId="1103313753" sldId="3333"/>
            <ac:spMk id="3" creationId="{D2169C99-4EBF-3DCE-5B1D-C1B577F5D15F}"/>
          </ac:spMkLst>
        </pc:spChg>
        <pc:spChg chg="add del mod">
          <ac:chgData name="Aurelien Domont" userId="6da7715ce44349b3" providerId="LiveId" clId="{054A0FD0-B662-4CE6-BBA9-FE85ACE9B85C}" dt="2023-09-26T06:09:42.921" v="126" actId="478"/>
          <ac:spMkLst>
            <pc:docMk/>
            <pc:sldMk cId="1103313753" sldId="3333"/>
            <ac:spMk id="4" creationId="{7998608C-2A09-623D-1568-163CE957F764}"/>
          </ac:spMkLst>
        </pc:spChg>
        <pc:spChg chg="add del mod">
          <ac:chgData name="Aurelien Domont" userId="6da7715ce44349b3" providerId="LiveId" clId="{054A0FD0-B662-4CE6-BBA9-FE85ACE9B85C}" dt="2023-09-26T06:09:42.921" v="126" actId="478"/>
          <ac:spMkLst>
            <pc:docMk/>
            <pc:sldMk cId="1103313753" sldId="3333"/>
            <ac:spMk id="5" creationId="{DE874D95-7356-8C66-8B9E-B6B98146E4A0}"/>
          </ac:spMkLst>
        </pc:spChg>
        <pc:spChg chg="add del mod">
          <ac:chgData name="Aurelien Domont" userId="6da7715ce44349b3" providerId="LiveId" clId="{054A0FD0-B662-4CE6-BBA9-FE85ACE9B85C}" dt="2023-09-26T06:09:42.921" v="126" actId="478"/>
          <ac:spMkLst>
            <pc:docMk/>
            <pc:sldMk cId="1103313753" sldId="3333"/>
            <ac:spMk id="6" creationId="{C352E902-D6DD-3AFB-474C-A64E065FCDE6}"/>
          </ac:spMkLst>
        </pc:spChg>
        <pc:spChg chg="add del mod">
          <ac:chgData name="Aurelien Domont" userId="6da7715ce44349b3" providerId="LiveId" clId="{054A0FD0-B662-4CE6-BBA9-FE85ACE9B85C}" dt="2023-09-26T06:09:42.921" v="126" actId="478"/>
          <ac:spMkLst>
            <pc:docMk/>
            <pc:sldMk cId="1103313753" sldId="3333"/>
            <ac:spMk id="7" creationId="{4AA410B8-6277-A88D-818B-3B946DD46BC1}"/>
          </ac:spMkLst>
        </pc:spChg>
        <pc:spChg chg="del mod">
          <ac:chgData name="Aurelien Domont" userId="6da7715ce44349b3" providerId="LiveId" clId="{054A0FD0-B662-4CE6-BBA9-FE85ACE9B85C}" dt="2023-09-26T06:09:42.921" v="126" actId="478"/>
          <ac:spMkLst>
            <pc:docMk/>
            <pc:sldMk cId="1103313753" sldId="3333"/>
            <ac:spMk id="8" creationId="{A2D38F72-8AF6-8581-339B-E5F29CA8880E}"/>
          </ac:spMkLst>
        </pc:spChg>
        <pc:spChg chg="add del mod">
          <ac:chgData name="Aurelien Domont" userId="6da7715ce44349b3" providerId="LiveId" clId="{054A0FD0-B662-4CE6-BBA9-FE85ACE9B85C}" dt="2023-09-26T06:09:42.921" v="126" actId="478"/>
          <ac:spMkLst>
            <pc:docMk/>
            <pc:sldMk cId="1103313753" sldId="3333"/>
            <ac:spMk id="9" creationId="{4FE0DF6A-6C5A-5B3C-A2A1-FF9C00840C39}"/>
          </ac:spMkLst>
        </pc:spChg>
        <pc:spChg chg="add del mod">
          <ac:chgData name="Aurelien Domont" userId="6da7715ce44349b3" providerId="LiveId" clId="{054A0FD0-B662-4CE6-BBA9-FE85ACE9B85C}" dt="2023-09-26T06:09:42.921" v="126" actId="478"/>
          <ac:spMkLst>
            <pc:docMk/>
            <pc:sldMk cId="1103313753" sldId="3333"/>
            <ac:spMk id="11" creationId="{342A1BF2-5A10-158E-5E47-80304B6EF75D}"/>
          </ac:spMkLst>
        </pc:spChg>
        <pc:spChg chg="add del mod">
          <ac:chgData name="Aurelien Domont" userId="6da7715ce44349b3" providerId="LiveId" clId="{054A0FD0-B662-4CE6-BBA9-FE85ACE9B85C}" dt="2023-09-26T06:09:42.921" v="126" actId="478"/>
          <ac:spMkLst>
            <pc:docMk/>
            <pc:sldMk cId="1103313753" sldId="3333"/>
            <ac:spMk id="12" creationId="{B091ED11-841F-C895-1136-D7E0F58CB442}"/>
          </ac:spMkLst>
        </pc:spChg>
        <pc:spChg chg="add del mod">
          <ac:chgData name="Aurelien Domont" userId="6da7715ce44349b3" providerId="LiveId" clId="{054A0FD0-B662-4CE6-BBA9-FE85ACE9B85C}" dt="2023-09-26T06:09:42.921" v="126" actId="478"/>
          <ac:spMkLst>
            <pc:docMk/>
            <pc:sldMk cId="1103313753" sldId="3333"/>
            <ac:spMk id="13" creationId="{1F24C921-FE84-EF49-3D68-408F586A4E71}"/>
          </ac:spMkLst>
        </pc:spChg>
        <pc:spChg chg="add del mod">
          <ac:chgData name="Aurelien Domont" userId="6da7715ce44349b3" providerId="LiveId" clId="{054A0FD0-B662-4CE6-BBA9-FE85ACE9B85C}" dt="2023-09-26T06:09:42.921" v="126" actId="478"/>
          <ac:spMkLst>
            <pc:docMk/>
            <pc:sldMk cId="1103313753" sldId="3333"/>
            <ac:spMk id="14" creationId="{C14853C3-FEAE-EB11-C93E-88847CFE8EFF}"/>
          </ac:spMkLst>
        </pc:spChg>
        <pc:spChg chg="add del mod">
          <ac:chgData name="Aurelien Domont" userId="6da7715ce44349b3" providerId="LiveId" clId="{054A0FD0-B662-4CE6-BBA9-FE85ACE9B85C}" dt="2023-09-26T06:09:42.921" v="126" actId="478"/>
          <ac:spMkLst>
            <pc:docMk/>
            <pc:sldMk cId="1103313753" sldId="3333"/>
            <ac:spMk id="15" creationId="{9E4AFEA8-9513-41D0-265D-4EB37D307017}"/>
          </ac:spMkLst>
        </pc:spChg>
        <pc:spChg chg="add del mod">
          <ac:chgData name="Aurelien Domont" userId="6da7715ce44349b3" providerId="LiveId" clId="{054A0FD0-B662-4CE6-BBA9-FE85ACE9B85C}" dt="2023-09-26T06:09:42.921" v="126" actId="478"/>
          <ac:spMkLst>
            <pc:docMk/>
            <pc:sldMk cId="1103313753" sldId="3333"/>
            <ac:spMk id="16" creationId="{01190A16-16CD-C73C-EBC7-21C900116DF2}"/>
          </ac:spMkLst>
        </pc:spChg>
        <pc:spChg chg="add del mod">
          <ac:chgData name="Aurelien Domont" userId="6da7715ce44349b3" providerId="LiveId" clId="{054A0FD0-B662-4CE6-BBA9-FE85ACE9B85C}" dt="2023-09-26T06:09:42.921" v="126" actId="478"/>
          <ac:spMkLst>
            <pc:docMk/>
            <pc:sldMk cId="1103313753" sldId="3333"/>
            <ac:spMk id="17" creationId="{ACCA9A43-D39A-5AC5-DE6F-07B8BFD5B38D}"/>
          </ac:spMkLst>
        </pc:spChg>
        <pc:spChg chg="add del mod">
          <ac:chgData name="Aurelien Domont" userId="6da7715ce44349b3" providerId="LiveId" clId="{054A0FD0-B662-4CE6-BBA9-FE85ACE9B85C}" dt="2023-09-26T06:09:42.921" v="126" actId="478"/>
          <ac:spMkLst>
            <pc:docMk/>
            <pc:sldMk cId="1103313753" sldId="3333"/>
            <ac:spMk id="18" creationId="{D2C84E52-3E91-FB8A-48EE-7BF1D0EFAE16}"/>
          </ac:spMkLst>
        </pc:spChg>
        <pc:spChg chg="add del mod">
          <ac:chgData name="Aurelien Domont" userId="6da7715ce44349b3" providerId="LiveId" clId="{054A0FD0-B662-4CE6-BBA9-FE85ACE9B85C}" dt="2023-09-26T06:09:42.921" v="126" actId="478"/>
          <ac:spMkLst>
            <pc:docMk/>
            <pc:sldMk cId="1103313753" sldId="3333"/>
            <ac:spMk id="19" creationId="{0DDEA773-8810-F62F-5C97-9203C1918297}"/>
          </ac:spMkLst>
        </pc:spChg>
        <pc:spChg chg="add del mod">
          <ac:chgData name="Aurelien Domont" userId="6da7715ce44349b3" providerId="LiveId" clId="{054A0FD0-B662-4CE6-BBA9-FE85ACE9B85C}" dt="2023-09-26T06:09:42.921" v="126" actId="478"/>
          <ac:spMkLst>
            <pc:docMk/>
            <pc:sldMk cId="1103313753" sldId="3333"/>
            <ac:spMk id="20" creationId="{FF49C1E1-A9D0-C270-E92A-0B0EC3B93A56}"/>
          </ac:spMkLst>
        </pc:spChg>
        <pc:spChg chg="add del mod">
          <ac:chgData name="Aurelien Domont" userId="6da7715ce44349b3" providerId="LiveId" clId="{054A0FD0-B662-4CE6-BBA9-FE85ACE9B85C}" dt="2023-09-26T06:09:42.921" v="126" actId="478"/>
          <ac:spMkLst>
            <pc:docMk/>
            <pc:sldMk cId="1103313753" sldId="3333"/>
            <ac:spMk id="21" creationId="{E6F7D7A1-0CBB-E5A8-826A-BA55E18A3FD7}"/>
          </ac:spMkLst>
        </pc:spChg>
        <pc:spChg chg="add del mod">
          <ac:chgData name="Aurelien Domont" userId="6da7715ce44349b3" providerId="LiveId" clId="{054A0FD0-B662-4CE6-BBA9-FE85ACE9B85C}" dt="2023-09-26T06:09:44.978" v="127" actId="478"/>
          <ac:spMkLst>
            <pc:docMk/>
            <pc:sldMk cId="1103313753" sldId="3333"/>
            <ac:spMk id="23" creationId="{1B0BBD85-2BA2-3278-0CF1-88211F78A0B7}"/>
          </ac:spMkLst>
        </pc:spChg>
        <pc:spChg chg="add mod">
          <ac:chgData name="Aurelien Domont" userId="6da7715ce44349b3" providerId="LiveId" clId="{054A0FD0-B662-4CE6-BBA9-FE85ACE9B85C}" dt="2023-09-26T06:09:52.320" v="129" actId="1076"/>
          <ac:spMkLst>
            <pc:docMk/>
            <pc:sldMk cId="1103313753" sldId="3333"/>
            <ac:spMk id="24" creationId="{1F950A58-E183-5D0E-CA1D-C73C87C3CB72}"/>
          </ac:spMkLst>
        </pc:spChg>
        <pc:spChg chg="add mod">
          <ac:chgData name="Aurelien Domont" userId="6da7715ce44349b3" providerId="LiveId" clId="{054A0FD0-B662-4CE6-BBA9-FE85ACE9B85C}" dt="2023-09-26T06:09:52.320" v="129" actId="1076"/>
          <ac:spMkLst>
            <pc:docMk/>
            <pc:sldMk cId="1103313753" sldId="3333"/>
            <ac:spMk id="25" creationId="{2DC6EF19-37B4-328A-335D-8B5E4EC35B99}"/>
          </ac:spMkLst>
        </pc:spChg>
        <pc:spChg chg="add mod">
          <ac:chgData name="Aurelien Domont" userId="6da7715ce44349b3" providerId="LiveId" clId="{054A0FD0-B662-4CE6-BBA9-FE85ACE9B85C}" dt="2023-09-26T06:09:52.320" v="129" actId="1076"/>
          <ac:spMkLst>
            <pc:docMk/>
            <pc:sldMk cId="1103313753" sldId="3333"/>
            <ac:spMk id="26" creationId="{B5221770-2AEB-730E-B087-576FF239A712}"/>
          </ac:spMkLst>
        </pc:spChg>
        <pc:spChg chg="add mod">
          <ac:chgData name="Aurelien Domont" userId="6da7715ce44349b3" providerId="LiveId" clId="{054A0FD0-B662-4CE6-BBA9-FE85ACE9B85C}" dt="2023-09-26T06:09:52.320" v="129" actId="1076"/>
          <ac:spMkLst>
            <pc:docMk/>
            <pc:sldMk cId="1103313753" sldId="3333"/>
            <ac:spMk id="27" creationId="{083FCEAC-52C1-8069-0E8D-8613C85B79DD}"/>
          </ac:spMkLst>
        </pc:spChg>
        <pc:spChg chg="add mod">
          <ac:chgData name="Aurelien Domont" userId="6da7715ce44349b3" providerId="LiveId" clId="{054A0FD0-B662-4CE6-BBA9-FE85ACE9B85C}" dt="2023-09-26T06:09:52.320" v="129" actId="1076"/>
          <ac:spMkLst>
            <pc:docMk/>
            <pc:sldMk cId="1103313753" sldId="3333"/>
            <ac:spMk id="28" creationId="{BBE63912-8393-3364-6C5D-518CB26C126D}"/>
          </ac:spMkLst>
        </pc:spChg>
        <pc:spChg chg="add mod">
          <ac:chgData name="Aurelien Domont" userId="6da7715ce44349b3" providerId="LiveId" clId="{054A0FD0-B662-4CE6-BBA9-FE85ACE9B85C}" dt="2023-09-26T06:09:52.320" v="129" actId="1076"/>
          <ac:spMkLst>
            <pc:docMk/>
            <pc:sldMk cId="1103313753" sldId="3333"/>
            <ac:spMk id="29" creationId="{E24CBB8A-7BBC-B97E-DA31-5E9CFCE2B461}"/>
          </ac:spMkLst>
        </pc:spChg>
        <pc:spChg chg="add mod">
          <ac:chgData name="Aurelien Domont" userId="6da7715ce44349b3" providerId="LiveId" clId="{054A0FD0-B662-4CE6-BBA9-FE85ACE9B85C}" dt="2023-09-26T06:09:52.320" v="129" actId="1076"/>
          <ac:spMkLst>
            <pc:docMk/>
            <pc:sldMk cId="1103313753" sldId="3333"/>
            <ac:spMk id="30" creationId="{9E3C986E-9D57-8350-CD4C-3F3C87A510EA}"/>
          </ac:spMkLst>
        </pc:spChg>
        <pc:spChg chg="add mod">
          <ac:chgData name="Aurelien Domont" userId="6da7715ce44349b3" providerId="LiveId" clId="{054A0FD0-B662-4CE6-BBA9-FE85ACE9B85C}" dt="2023-09-26T06:09:52.320" v="129" actId="1076"/>
          <ac:spMkLst>
            <pc:docMk/>
            <pc:sldMk cId="1103313753" sldId="3333"/>
            <ac:spMk id="31" creationId="{F391DDBE-5779-8BB0-D6AD-C79A87EDFFE4}"/>
          </ac:spMkLst>
        </pc:spChg>
        <pc:spChg chg="add mod">
          <ac:chgData name="Aurelien Domont" userId="6da7715ce44349b3" providerId="LiveId" clId="{054A0FD0-B662-4CE6-BBA9-FE85ACE9B85C}" dt="2023-09-26T06:09:52.320" v="129" actId="1076"/>
          <ac:spMkLst>
            <pc:docMk/>
            <pc:sldMk cId="1103313753" sldId="3333"/>
            <ac:spMk id="32" creationId="{57BEBB4D-19E0-E06B-C6F0-138A9CF3CA1C}"/>
          </ac:spMkLst>
        </pc:spChg>
        <pc:spChg chg="add mod">
          <ac:chgData name="Aurelien Domont" userId="6da7715ce44349b3" providerId="LiveId" clId="{054A0FD0-B662-4CE6-BBA9-FE85ACE9B85C}" dt="2023-09-26T06:09:52.320" v="129" actId="1076"/>
          <ac:spMkLst>
            <pc:docMk/>
            <pc:sldMk cId="1103313753" sldId="3333"/>
            <ac:spMk id="33" creationId="{0D07024D-EFF7-80BD-18F9-E7BA9720FCA8}"/>
          </ac:spMkLst>
        </pc:spChg>
        <pc:spChg chg="add mod">
          <ac:chgData name="Aurelien Domont" userId="6da7715ce44349b3" providerId="LiveId" clId="{054A0FD0-B662-4CE6-BBA9-FE85ACE9B85C}" dt="2023-09-26T06:09:52.320" v="129" actId="1076"/>
          <ac:spMkLst>
            <pc:docMk/>
            <pc:sldMk cId="1103313753" sldId="3333"/>
            <ac:spMk id="34" creationId="{E3055DB7-9BC5-D5F7-832E-7B25689646A5}"/>
          </ac:spMkLst>
        </pc:spChg>
        <pc:spChg chg="add mod">
          <ac:chgData name="Aurelien Domont" userId="6da7715ce44349b3" providerId="LiveId" clId="{054A0FD0-B662-4CE6-BBA9-FE85ACE9B85C}" dt="2023-09-26T06:09:52.320" v="129" actId="1076"/>
          <ac:spMkLst>
            <pc:docMk/>
            <pc:sldMk cId="1103313753" sldId="3333"/>
            <ac:spMk id="35" creationId="{4420BDBE-52CF-BAD2-1F81-0087DF97C033}"/>
          </ac:spMkLst>
        </pc:spChg>
        <pc:spChg chg="add mod">
          <ac:chgData name="Aurelien Domont" userId="6da7715ce44349b3" providerId="LiveId" clId="{054A0FD0-B662-4CE6-BBA9-FE85ACE9B85C}" dt="2023-09-26T06:09:52.320" v="129" actId="1076"/>
          <ac:spMkLst>
            <pc:docMk/>
            <pc:sldMk cId="1103313753" sldId="3333"/>
            <ac:spMk id="36" creationId="{CC56F2FA-91B4-62D9-3D9C-9C96617F8A3E}"/>
          </ac:spMkLst>
        </pc:spChg>
        <pc:spChg chg="add mod">
          <ac:chgData name="Aurelien Domont" userId="6da7715ce44349b3" providerId="LiveId" clId="{054A0FD0-B662-4CE6-BBA9-FE85ACE9B85C}" dt="2023-09-26T06:09:52.320" v="129" actId="1076"/>
          <ac:spMkLst>
            <pc:docMk/>
            <pc:sldMk cId="1103313753" sldId="3333"/>
            <ac:spMk id="37" creationId="{F1DE05F9-79C7-BDB9-B9D4-0D896768922F}"/>
          </ac:spMkLst>
        </pc:spChg>
        <pc:spChg chg="add mod">
          <ac:chgData name="Aurelien Domont" userId="6da7715ce44349b3" providerId="LiveId" clId="{054A0FD0-B662-4CE6-BBA9-FE85ACE9B85C}" dt="2023-09-26T06:09:52.320" v="129" actId="1076"/>
          <ac:spMkLst>
            <pc:docMk/>
            <pc:sldMk cId="1103313753" sldId="3333"/>
            <ac:spMk id="38" creationId="{A50458B7-AD00-9F0B-7F4B-31CCFD436A1A}"/>
          </ac:spMkLst>
        </pc:spChg>
        <pc:spChg chg="add mod">
          <ac:chgData name="Aurelien Domont" userId="6da7715ce44349b3" providerId="LiveId" clId="{054A0FD0-B662-4CE6-BBA9-FE85ACE9B85C}" dt="2023-09-26T06:09:52.320" v="129" actId="1076"/>
          <ac:spMkLst>
            <pc:docMk/>
            <pc:sldMk cId="1103313753" sldId="3333"/>
            <ac:spMk id="39" creationId="{FFAA8A14-D764-5F62-F8DF-6B0883E671D7}"/>
          </ac:spMkLst>
        </pc:spChg>
        <pc:spChg chg="add mod">
          <ac:chgData name="Aurelien Domont" userId="6da7715ce44349b3" providerId="LiveId" clId="{054A0FD0-B662-4CE6-BBA9-FE85ACE9B85C}" dt="2023-09-26T06:09:52.320" v="129" actId="1076"/>
          <ac:spMkLst>
            <pc:docMk/>
            <pc:sldMk cId="1103313753" sldId="3333"/>
            <ac:spMk id="40" creationId="{5A630E6C-F20A-43BC-9E79-FD4F9487460A}"/>
          </ac:spMkLst>
        </pc:spChg>
        <pc:spChg chg="add mod">
          <ac:chgData name="Aurelien Domont" userId="6da7715ce44349b3" providerId="LiveId" clId="{054A0FD0-B662-4CE6-BBA9-FE85ACE9B85C}" dt="2023-09-26T06:09:52.320" v="129" actId="1076"/>
          <ac:spMkLst>
            <pc:docMk/>
            <pc:sldMk cId="1103313753" sldId="3333"/>
            <ac:spMk id="41" creationId="{9015FCC4-9C9D-02F0-6B42-B4E893D66EE3}"/>
          </ac:spMkLst>
        </pc:spChg>
        <pc:picChg chg="del mod">
          <ac:chgData name="Aurelien Domont" userId="6da7715ce44349b3" providerId="LiveId" clId="{054A0FD0-B662-4CE6-BBA9-FE85ACE9B85C}" dt="2023-09-26T06:09:42.921" v="126" actId="478"/>
          <ac:picMkLst>
            <pc:docMk/>
            <pc:sldMk cId="1103313753" sldId="3333"/>
            <ac:picMk id="10" creationId="{B5A161B9-9A54-4814-DEA5-1CBBF7AE3F51}"/>
          </ac:picMkLst>
        </pc:picChg>
        <pc:picChg chg="del">
          <ac:chgData name="Aurelien Domont" userId="6da7715ce44349b3" providerId="LiveId" clId="{054A0FD0-B662-4CE6-BBA9-FE85ACE9B85C}" dt="2023-09-26T06:08:31.413" v="53" actId="478"/>
          <ac:picMkLst>
            <pc:docMk/>
            <pc:sldMk cId="1103313753" sldId="3333"/>
            <ac:picMk id="52" creationId="{9A7824FB-23AE-EC4C-D089-1316E7412111}"/>
          </ac:picMkLst>
        </pc:picChg>
        <pc:picChg chg="del">
          <ac:chgData name="Aurelien Domont" userId="6da7715ce44349b3" providerId="LiveId" clId="{054A0FD0-B662-4CE6-BBA9-FE85ACE9B85C}" dt="2023-09-26T06:08:31.413" v="53" actId="478"/>
          <ac:picMkLst>
            <pc:docMk/>
            <pc:sldMk cId="1103313753" sldId="3333"/>
            <ac:picMk id="56" creationId="{0B6419AB-B6D4-B5CD-471D-51C40B14D74F}"/>
          </ac:picMkLst>
        </pc:picChg>
      </pc:sldChg>
      <pc:sldMasterChg chg="addSp modSldLayout">
        <pc:chgData name="Aurelien Domont" userId="6da7715ce44349b3" providerId="LiveId" clId="{054A0FD0-B662-4CE6-BBA9-FE85ACE9B85C}" dt="2022-10-27T05:55:17.884" v="0"/>
        <pc:sldMasterMkLst>
          <pc:docMk/>
          <pc:sldMasterMk cId="3481041214" sldId="2147483670"/>
        </pc:sldMasterMkLst>
        <pc:spChg chg="add">
          <ac:chgData name="Aurelien Domont" userId="6da7715ce44349b3" providerId="LiveId" clId="{054A0FD0-B662-4CE6-BBA9-FE85ACE9B85C}" dt="2022-10-27T05:55:17.884" v="0"/>
          <ac:spMkLst>
            <pc:docMk/>
            <pc:sldMasterMk cId="3481041214" sldId="2147483670"/>
            <ac:spMk id="10" creationId="{AFC31C66-5E76-B623-9324-75650A3BE6CE}"/>
          </ac:spMkLst>
        </pc:spChg>
        <pc:spChg chg="add">
          <ac:chgData name="Aurelien Domont" userId="6da7715ce44349b3" providerId="LiveId" clId="{054A0FD0-B662-4CE6-BBA9-FE85ACE9B85C}" dt="2022-10-27T05:55:17.884" v="0"/>
          <ac:spMkLst>
            <pc:docMk/>
            <pc:sldMasterMk cId="3481041214" sldId="2147483670"/>
            <ac:spMk id="11" creationId="{E38AB284-61E7-EC52-C35C-D68A0530C8BA}"/>
          </ac:spMkLst>
        </pc:spChg>
        <pc:graphicFrameChg chg="add">
          <ac:chgData name="Aurelien Domont" userId="6da7715ce44349b3" providerId="LiveId" clId="{054A0FD0-B662-4CE6-BBA9-FE85ACE9B85C}" dt="2022-10-27T05:55:17.884" v="0"/>
          <ac:graphicFrameMkLst>
            <pc:docMk/>
            <pc:sldMasterMk cId="3481041214" sldId="2147483670"/>
            <ac:graphicFrameMk id="4" creationId="{CC8B6842-66B3-146C-F328-310CD2E88E74}"/>
          </ac:graphicFrameMkLst>
        </pc:graphicFrameChg>
        <pc:cxnChg chg="add">
          <ac:chgData name="Aurelien Domont" userId="6da7715ce44349b3" providerId="LiveId" clId="{054A0FD0-B662-4CE6-BBA9-FE85ACE9B85C}" dt="2022-10-27T05:55:17.884" v="0"/>
          <ac:cxnSpMkLst>
            <pc:docMk/>
            <pc:sldMasterMk cId="3481041214" sldId="2147483670"/>
            <ac:cxnSpMk id="12" creationId="{13CAB3A6-C277-3DD7-2585-02C2212386BF}"/>
          </ac:cxnSpMkLst>
        </pc:cxnChg>
        <pc:sldLayoutChg chg="addSp">
          <pc:chgData name="Aurelien Domont" userId="6da7715ce44349b3" providerId="LiveId" clId="{054A0FD0-B662-4CE6-BBA9-FE85ACE9B85C}" dt="2022-10-27T05:55:17.884" v="0"/>
          <pc:sldLayoutMkLst>
            <pc:docMk/>
            <pc:sldMasterMk cId="3481041214" sldId="2147483670"/>
            <pc:sldLayoutMk cId="645463350" sldId="2147483671"/>
          </pc:sldLayoutMkLst>
          <pc:spChg chg="add">
            <ac:chgData name="Aurelien Domont" userId="6da7715ce44349b3" providerId="LiveId" clId="{054A0FD0-B662-4CE6-BBA9-FE85ACE9B85C}" dt="2022-10-27T05:55:17.884" v="0"/>
            <ac:spMkLst>
              <pc:docMk/>
              <pc:sldMasterMk cId="3481041214" sldId="2147483670"/>
              <pc:sldLayoutMk cId="645463350" sldId="2147483671"/>
              <ac:spMk id="9" creationId="{8EC79019-122C-5CE7-C79E-73977CCDEE45}"/>
            </ac:spMkLst>
          </pc:spChg>
          <pc:spChg chg="add">
            <ac:chgData name="Aurelien Domont" userId="6da7715ce44349b3" providerId="LiveId" clId="{054A0FD0-B662-4CE6-BBA9-FE85ACE9B85C}" dt="2022-10-27T05:55:17.884" v="0"/>
            <ac:spMkLst>
              <pc:docMk/>
              <pc:sldMasterMk cId="3481041214" sldId="2147483670"/>
              <pc:sldLayoutMk cId="645463350" sldId="2147483671"/>
              <ac:spMk id="10" creationId="{9F85CF41-A6F7-9479-7DB4-0071DABFB0CB}"/>
            </ac:spMkLst>
          </pc:spChg>
          <pc:graphicFrameChg chg="add">
            <ac:chgData name="Aurelien Domont" userId="6da7715ce44349b3" providerId="LiveId" clId="{054A0FD0-B662-4CE6-BBA9-FE85ACE9B85C}" dt="2022-10-27T05:55:17.884" v="0"/>
            <ac:graphicFrameMkLst>
              <pc:docMk/>
              <pc:sldMasterMk cId="3481041214" sldId="2147483670"/>
              <pc:sldLayoutMk cId="645463350" sldId="2147483671"/>
              <ac:graphicFrameMk id="8" creationId="{14AA8DE8-1638-262C-9615-B6AAAA0D621C}"/>
            </ac:graphicFrameMkLst>
          </pc:graphicFrameChg>
        </pc:sldLayoutChg>
        <pc:sldLayoutChg chg="addSp">
          <pc:chgData name="Aurelien Domont" userId="6da7715ce44349b3" providerId="LiveId" clId="{054A0FD0-B662-4CE6-BBA9-FE85ACE9B85C}" dt="2022-10-27T05:55:17.884" v="0"/>
          <pc:sldLayoutMkLst>
            <pc:docMk/>
            <pc:sldMasterMk cId="3481041214" sldId="2147483670"/>
            <pc:sldLayoutMk cId="1093375864" sldId="2147483672"/>
          </pc:sldLayoutMkLst>
          <pc:spChg chg="add">
            <ac:chgData name="Aurelien Domont" userId="6da7715ce44349b3" providerId="LiveId" clId="{054A0FD0-B662-4CE6-BBA9-FE85ACE9B85C}" dt="2022-10-27T05:55:17.884" v="0"/>
            <ac:spMkLst>
              <pc:docMk/>
              <pc:sldMasterMk cId="3481041214" sldId="2147483670"/>
              <pc:sldLayoutMk cId="1093375864" sldId="2147483672"/>
              <ac:spMk id="5" creationId="{ECF995C5-A4FD-0472-3C6A-A6830063D8F7}"/>
            </ac:spMkLst>
          </pc:spChg>
          <pc:spChg chg="add">
            <ac:chgData name="Aurelien Domont" userId="6da7715ce44349b3" providerId="LiveId" clId="{054A0FD0-B662-4CE6-BBA9-FE85ACE9B85C}" dt="2022-10-27T05:55:17.884" v="0"/>
            <ac:spMkLst>
              <pc:docMk/>
              <pc:sldMasterMk cId="3481041214" sldId="2147483670"/>
              <pc:sldLayoutMk cId="1093375864" sldId="2147483672"/>
              <ac:spMk id="6" creationId="{69E84D9B-ADB1-F54A-A735-12C5F99F93E1}"/>
            </ac:spMkLst>
          </pc:spChg>
          <pc:graphicFrameChg chg="add">
            <ac:chgData name="Aurelien Domont" userId="6da7715ce44349b3" providerId="LiveId" clId="{054A0FD0-B662-4CE6-BBA9-FE85ACE9B85C}" dt="2022-10-27T05:55:17.884" v="0"/>
            <ac:graphicFrameMkLst>
              <pc:docMk/>
              <pc:sldMasterMk cId="3481041214" sldId="2147483670"/>
              <pc:sldLayoutMk cId="1093375864" sldId="2147483672"/>
              <ac:graphicFrameMk id="4" creationId="{2C9BF9A8-96C2-40D8-C2AE-2B29B2177096}"/>
            </ac:graphicFrameMkLst>
          </pc:graphicFrameChg>
          <pc:cxnChg chg="add">
            <ac:chgData name="Aurelien Domont" userId="6da7715ce44349b3" providerId="LiveId" clId="{054A0FD0-B662-4CE6-BBA9-FE85ACE9B85C}" dt="2022-10-27T05:55:17.884" v="0"/>
            <ac:cxnSpMkLst>
              <pc:docMk/>
              <pc:sldMasterMk cId="3481041214" sldId="2147483670"/>
              <pc:sldLayoutMk cId="1093375864" sldId="2147483672"/>
              <ac:cxnSpMk id="10" creationId="{2AE70263-BC06-1DAA-70DC-5D691A86C0D1}"/>
            </ac:cxnSpMkLst>
          </pc:cxnChg>
        </pc:sldLayoutChg>
        <pc:sldLayoutChg chg="addSp">
          <pc:chgData name="Aurelien Domont" userId="6da7715ce44349b3" providerId="LiveId" clId="{054A0FD0-B662-4CE6-BBA9-FE85ACE9B85C}" dt="2022-10-27T05:55:17.884" v="0"/>
          <pc:sldLayoutMkLst>
            <pc:docMk/>
            <pc:sldMasterMk cId="3481041214" sldId="2147483670"/>
            <pc:sldLayoutMk cId="2948206383" sldId="2147483673"/>
          </pc:sldLayoutMkLst>
          <pc:spChg chg="add">
            <ac:chgData name="Aurelien Domont" userId="6da7715ce44349b3" providerId="LiveId" clId="{054A0FD0-B662-4CE6-BBA9-FE85ACE9B85C}" dt="2022-10-27T05:55:17.884" v="0"/>
            <ac:spMkLst>
              <pc:docMk/>
              <pc:sldMasterMk cId="3481041214" sldId="2147483670"/>
              <pc:sldLayoutMk cId="2948206383" sldId="2147483673"/>
              <ac:spMk id="6" creationId="{B7EA62A1-5A78-22A1-C683-F965C9E95746}"/>
            </ac:spMkLst>
          </pc:spChg>
          <pc:spChg chg="add">
            <ac:chgData name="Aurelien Domont" userId="6da7715ce44349b3" providerId="LiveId" clId="{054A0FD0-B662-4CE6-BBA9-FE85ACE9B85C}" dt="2022-10-27T05:55:17.884" v="0"/>
            <ac:spMkLst>
              <pc:docMk/>
              <pc:sldMasterMk cId="3481041214" sldId="2147483670"/>
              <pc:sldLayoutMk cId="2948206383" sldId="2147483673"/>
              <ac:spMk id="11" creationId="{BBD9D9CD-B46D-471E-F953-A209E80734A1}"/>
            </ac:spMkLst>
          </pc:spChg>
          <pc:graphicFrameChg chg="add">
            <ac:chgData name="Aurelien Domont" userId="6da7715ce44349b3" providerId="LiveId" clId="{054A0FD0-B662-4CE6-BBA9-FE85ACE9B85C}" dt="2022-10-27T05:55:17.884" v="0"/>
            <ac:graphicFrameMkLst>
              <pc:docMk/>
              <pc:sldMasterMk cId="3481041214" sldId="2147483670"/>
              <pc:sldLayoutMk cId="2948206383" sldId="2147483673"/>
              <ac:graphicFrameMk id="2" creationId="{1FB4AA37-446B-DBBC-86E6-65897F5CED2C}"/>
            </ac:graphicFrameMkLst>
          </pc:graphicFrameChg>
          <pc:cxnChg chg="add">
            <ac:chgData name="Aurelien Domont" userId="6da7715ce44349b3" providerId="LiveId" clId="{054A0FD0-B662-4CE6-BBA9-FE85ACE9B85C}" dt="2022-10-27T05:55:17.884" v="0"/>
            <ac:cxnSpMkLst>
              <pc:docMk/>
              <pc:sldMasterMk cId="3481041214" sldId="2147483670"/>
              <pc:sldLayoutMk cId="2948206383" sldId="2147483673"/>
              <ac:cxnSpMk id="12" creationId="{47EB2873-8D9F-C629-07FE-35B6CEBF6CFD}"/>
            </ac:cxnSpMkLst>
          </pc:cxnChg>
        </pc:sldLayoutChg>
        <pc:sldLayoutChg chg="addSp">
          <pc:chgData name="Aurelien Domont" userId="6da7715ce44349b3" providerId="LiveId" clId="{054A0FD0-B662-4CE6-BBA9-FE85ACE9B85C}" dt="2022-10-27T05:55:17.884" v="0"/>
          <pc:sldLayoutMkLst>
            <pc:docMk/>
            <pc:sldMasterMk cId="3481041214" sldId="2147483670"/>
            <pc:sldLayoutMk cId="1329582483" sldId="2147483675"/>
          </pc:sldLayoutMkLst>
          <pc:spChg chg="add">
            <ac:chgData name="Aurelien Domont" userId="6da7715ce44349b3" providerId="LiveId" clId="{054A0FD0-B662-4CE6-BBA9-FE85ACE9B85C}" dt="2022-10-27T05:55:17.884" v="0"/>
            <ac:spMkLst>
              <pc:docMk/>
              <pc:sldMasterMk cId="3481041214" sldId="2147483670"/>
              <pc:sldLayoutMk cId="1329582483" sldId="2147483675"/>
              <ac:spMk id="6" creationId="{BCBF6371-1E6C-8E0F-4C1C-5F846E18CCC2}"/>
            </ac:spMkLst>
          </pc:spChg>
          <pc:spChg chg="add">
            <ac:chgData name="Aurelien Domont" userId="6da7715ce44349b3" providerId="LiveId" clId="{054A0FD0-B662-4CE6-BBA9-FE85ACE9B85C}" dt="2022-10-27T05:55:17.884" v="0"/>
            <ac:spMkLst>
              <pc:docMk/>
              <pc:sldMasterMk cId="3481041214" sldId="2147483670"/>
              <pc:sldLayoutMk cId="1329582483" sldId="2147483675"/>
              <ac:spMk id="10" creationId="{F60A416B-151C-B5D9-5DD5-127C4BFD4447}"/>
            </ac:spMkLst>
          </pc:spChg>
          <pc:spChg chg="add">
            <ac:chgData name="Aurelien Domont" userId="6da7715ce44349b3" providerId="LiveId" clId="{054A0FD0-B662-4CE6-BBA9-FE85ACE9B85C}" dt="2022-10-27T05:55:17.884" v="0"/>
            <ac:spMkLst>
              <pc:docMk/>
              <pc:sldMasterMk cId="3481041214" sldId="2147483670"/>
              <pc:sldLayoutMk cId="1329582483" sldId="2147483675"/>
              <ac:spMk id="17" creationId="{6B296CDE-AAA1-CEE9-971D-F41E6AD8ECB2}"/>
            </ac:spMkLst>
          </pc:spChg>
          <pc:graphicFrameChg chg="add">
            <ac:chgData name="Aurelien Domont" userId="6da7715ce44349b3" providerId="LiveId" clId="{054A0FD0-B662-4CE6-BBA9-FE85ACE9B85C}" dt="2022-10-27T05:55:17.884" v="0"/>
            <ac:graphicFrameMkLst>
              <pc:docMk/>
              <pc:sldMasterMk cId="3481041214" sldId="2147483670"/>
              <pc:sldLayoutMk cId="1329582483" sldId="2147483675"/>
              <ac:graphicFrameMk id="5" creationId="{3CA0EC8A-C8E6-9F20-693F-D2E1B53DC53C}"/>
            </ac:graphicFrameMkLst>
          </pc:graphicFrameChg>
          <pc:cxnChg chg="add">
            <ac:chgData name="Aurelien Domont" userId="6da7715ce44349b3" providerId="LiveId" clId="{054A0FD0-B662-4CE6-BBA9-FE85ACE9B85C}" dt="2022-10-27T05:55:17.884" v="0"/>
            <ac:cxnSpMkLst>
              <pc:docMk/>
              <pc:sldMasterMk cId="3481041214" sldId="2147483670"/>
              <pc:sldLayoutMk cId="1329582483" sldId="2147483675"/>
              <ac:cxnSpMk id="16" creationId="{946DFC5F-2A49-F963-50C6-8B99A47573E5}"/>
            </ac:cxnSpMkLst>
          </pc:cxnChg>
        </pc:sldLayoutChg>
      </pc:sldMasterChg>
      <pc:sldMasterChg chg="addSp modSldLayout">
        <pc:chgData name="Aurelien Domont" userId="6da7715ce44349b3" providerId="LiveId" clId="{054A0FD0-B662-4CE6-BBA9-FE85ACE9B85C}" dt="2023-09-26T06:08:19.291" v="51"/>
        <pc:sldMasterMkLst>
          <pc:docMk/>
          <pc:sldMasterMk cId="3705230582" sldId="2147483750"/>
        </pc:sldMasterMkLst>
        <pc:spChg chg="add">
          <ac:chgData name="Aurelien Domont" userId="6da7715ce44349b3" providerId="LiveId" clId="{054A0FD0-B662-4CE6-BBA9-FE85ACE9B85C}" dt="2023-09-26T06:08:19.291" v="51"/>
          <ac:spMkLst>
            <pc:docMk/>
            <pc:sldMasterMk cId="3705230582" sldId="2147483750"/>
            <ac:spMk id="14" creationId="{987C094B-BD20-7C7C-0220-96686458382A}"/>
          </ac:spMkLst>
        </pc:spChg>
        <pc:spChg chg="add">
          <ac:chgData name="Aurelien Domont" userId="6da7715ce44349b3" providerId="LiveId" clId="{054A0FD0-B662-4CE6-BBA9-FE85ACE9B85C}" dt="2023-09-26T06:08:19.291" v="51"/>
          <ac:spMkLst>
            <pc:docMk/>
            <pc:sldMasterMk cId="3705230582" sldId="2147483750"/>
            <ac:spMk id="15" creationId="{34B8B962-7409-80DA-3044-C23929DA3589}"/>
          </ac:spMkLst>
        </pc:spChg>
        <pc:graphicFrameChg chg="add">
          <ac:chgData name="Aurelien Domont" userId="6da7715ce44349b3" providerId="LiveId" clId="{054A0FD0-B662-4CE6-BBA9-FE85ACE9B85C}" dt="2023-09-26T06:08:19.291" v="51"/>
          <ac:graphicFrameMkLst>
            <pc:docMk/>
            <pc:sldMasterMk cId="3705230582" sldId="2147483750"/>
            <ac:graphicFrameMk id="13" creationId="{31CD8684-8439-8F14-EC53-72ABD7EC7143}"/>
          </ac:graphicFrameMkLst>
        </pc:graphicFrameChg>
        <pc:cxnChg chg="add">
          <ac:chgData name="Aurelien Domont" userId="6da7715ce44349b3" providerId="LiveId" clId="{054A0FD0-B662-4CE6-BBA9-FE85ACE9B85C}" dt="2023-09-26T06:08:19.291" v="51"/>
          <ac:cxnSpMkLst>
            <pc:docMk/>
            <pc:sldMasterMk cId="3705230582" sldId="2147483750"/>
            <ac:cxnSpMk id="16" creationId="{EBD54109-3C91-D5F5-8D85-CA75C06C7FA9}"/>
          </ac:cxnSpMkLst>
        </pc:cxnChg>
        <pc:sldLayoutChg chg="addSp">
          <pc:chgData name="Aurelien Domont" userId="6da7715ce44349b3" providerId="LiveId" clId="{054A0FD0-B662-4CE6-BBA9-FE85ACE9B85C}" dt="2023-09-26T06:08:19.291" v="51"/>
          <pc:sldLayoutMkLst>
            <pc:docMk/>
            <pc:sldMasterMk cId="3705230582" sldId="2147483750"/>
            <pc:sldLayoutMk cId="392593524" sldId="2147483751"/>
          </pc:sldLayoutMkLst>
          <pc:spChg chg="add">
            <ac:chgData name="Aurelien Domont" userId="6da7715ce44349b3" providerId="LiveId" clId="{054A0FD0-B662-4CE6-BBA9-FE85ACE9B85C}" dt="2023-09-26T06:08:19.291" v="51"/>
            <ac:spMkLst>
              <pc:docMk/>
              <pc:sldMasterMk cId="3705230582" sldId="2147483750"/>
              <pc:sldLayoutMk cId="392593524" sldId="2147483751"/>
              <ac:spMk id="12" creationId="{FAD455CB-22B4-CC93-034F-4A5FACBC21BD}"/>
            </ac:spMkLst>
          </pc:spChg>
          <pc:spChg chg="add">
            <ac:chgData name="Aurelien Domont" userId="6da7715ce44349b3" providerId="LiveId" clId="{054A0FD0-B662-4CE6-BBA9-FE85ACE9B85C}" dt="2023-09-26T06:08:19.291" v="51"/>
            <ac:spMkLst>
              <pc:docMk/>
              <pc:sldMasterMk cId="3705230582" sldId="2147483750"/>
              <pc:sldLayoutMk cId="392593524" sldId="2147483751"/>
              <ac:spMk id="13" creationId="{13BD8704-9703-C5DF-4848-9B03A4D0BAB1}"/>
            </ac:spMkLst>
          </pc:spChg>
          <pc:graphicFrameChg chg="add">
            <ac:chgData name="Aurelien Domont" userId="6da7715ce44349b3" providerId="LiveId" clId="{054A0FD0-B662-4CE6-BBA9-FE85ACE9B85C}" dt="2023-09-26T06:08:19.291" v="51"/>
            <ac:graphicFrameMkLst>
              <pc:docMk/>
              <pc:sldMasterMk cId="3705230582" sldId="2147483750"/>
              <pc:sldLayoutMk cId="392593524" sldId="2147483751"/>
              <ac:graphicFrameMk id="11" creationId="{C8828F9F-7DBB-1FF8-ABBA-5A382E270EF6}"/>
            </ac:graphicFrameMkLst>
          </pc:graphicFrameChg>
        </pc:sldLayoutChg>
        <pc:sldLayoutChg chg="addSp">
          <pc:chgData name="Aurelien Domont" userId="6da7715ce44349b3" providerId="LiveId" clId="{054A0FD0-B662-4CE6-BBA9-FE85ACE9B85C}" dt="2023-09-26T06:08:19.291" v="51"/>
          <pc:sldLayoutMkLst>
            <pc:docMk/>
            <pc:sldMasterMk cId="3705230582" sldId="2147483750"/>
            <pc:sldLayoutMk cId="3862044103" sldId="2147483752"/>
          </pc:sldLayoutMkLst>
          <pc:spChg chg="add">
            <ac:chgData name="Aurelien Domont" userId="6da7715ce44349b3" providerId="LiveId" clId="{054A0FD0-B662-4CE6-BBA9-FE85ACE9B85C}" dt="2023-09-26T06:08:19.291" v="51"/>
            <ac:spMkLst>
              <pc:docMk/>
              <pc:sldMasterMk cId="3705230582" sldId="2147483750"/>
              <pc:sldLayoutMk cId="3862044103" sldId="2147483752"/>
              <ac:spMk id="14" creationId="{CB775C79-603C-9158-1F7F-FC806B64151B}"/>
            </ac:spMkLst>
          </pc:spChg>
          <pc:spChg chg="add">
            <ac:chgData name="Aurelien Domont" userId="6da7715ce44349b3" providerId="LiveId" clId="{054A0FD0-B662-4CE6-BBA9-FE85ACE9B85C}" dt="2023-09-26T06:08:19.291" v="51"/>
            <ac:spMkLst>
              <pc:docMk/>
              <pc:sldMasterMk cId="3705230582" sldId="2147483750"/>
              <pc:sldLayoutMk cId="3862044103" sldId="2147483752"/>
              <ac:spMk id="15" creationId="{4F034B15-B725-7082-0876-9C421BDEAC66}"/>
            </ac:spMkLst>
          </pc:spChg>
          <pc:graphicFrameChg chg="add">
            <ac:chgData name="Aurelien Domont" userId="6da7715ce44349b3" providerId="LiveId" clId="{054A0FD0-B662-4CE6-BBA9-FE85ACE9B85C}" dt="2023-09-26T06:08:19.291" v="51"/>
            <ac:graphicFrameMkLst>
              <pc:docMk/>
              <pc:sldMasterMk cId="3705230582" sldId="2147483750"/>
              <pc:sldLayoutMk cId="3862044103" sldId="2147483752"/>
              <ac:graphicFrameMk id="12" creationId="{1B9239A0-68EB-5449-810E-E50002411459}"/>
            </ac:graphicFrameMkLst>
          </pc:graphicFrameChg>
          <pc:cxnChg chg="add">
            <ac:chgData name="Aurelien Domont" userId="6da7715ce44349b3" providerId="LiveId" clId="{054A0FD0-B662-4CE6-BBA9-FE85ACE9B85C}" dt="2023-09-26T06:08:19.291" v="51"/>
            <ac:cxnSpMkLst>
              <pc:docMk/>
              <pc:sldMasterMk cId="3705230582" sldId="2147483750"/>
              <pc:sldLayoutMk cId="3862044103" sldId="2147483752"/>
              <ac:cxnSpMk id="16" creationId="{5B1B6C06-A51A-6BE2-C8C8-D8B5F7CB059C}"/>
            </ac:cxnSpMkLst>
          </pc:cxnChg>
        </pc:sldLayoutChg>
        <pc:sldLayoutChg chg="addSp">
          <pc:chgData name="Aurelien Domont" userId="6da7715ce44349b3" providerId="LiveId" clId="{054A0FD0-B662-4CE6-BBA9-FE85ACE9B85C}" dt="2023-09-26T06:08:19.291" v="51"/>
          <pc:sldLayoutMkLst>
            <pc:docMk/>
            <pc:sldMasterMk cId="3705230582" sldId="2147483750"/>
            <pc:sldLayoutMk cId="111108015" sldId="2147483753"/>
          </pc:sldLayoutMkLst>
          <pc:spChg chg="add">
            <ac:chgData name="Aurelien Domont" userId="6da7715ce44349b3" providerId="LiveId" clId="{054A0FD0-B662-4CE6-BBA9-FE85ACE9B85C}" dt="2023-09-26T06:08:19.291" v="51"/>
            <ac:spMkLst>
              <pc:docMk/>
              <pc:sldMasterMk cId="3705230582" sldId="2147483750"/>
              <pc:sldLayoutMk cId="111108015" sldId="2147483753"/>
              <ac:spMk id="14" creationId="{56608A7B-E1AD-066F-67F7-D0AA5C08A32A}"/>
            </ac:spMkLst>
          </pc:spChg>
          <pc:spChg chg="add">
            <ac:chgData name="Aurelien Domont" userId="6da7715ce44349b3" providerId="LiveId" clId="{054A0FD0-B662-4CE6-BBA9-FE85ACE9B85C}" dt="2023-09-26T06:08:19.291" v="51"/>
            <ac:spMkLst>
              <pc:docMk/>
              <pc:sldMasterMk cId="3705230582" sldId="2147483750"/>
              <pc:sldLayoutMk cId="111108015" sldId="2147483753"/>
              <ac:spMk id="15" creationId="{320D76F6-855C-77C9-C688-502073333638}"/>
            </ac:spMkLst>
          </pc:spChg>
          <pc:graphicFrameChg chg="add">
            <ac:chgData name="Aurelien Domont" userId="6da7715ce44349b3" providerId="LiveId" clId="{054A0FD0-B662-4CE6-BBA9-FE85ACE9B85C}" dt="2023-09-26T06:08:19.291" v="51"/>
            <ac:graphicFrameMkLst>
              <pc:docMk/>
              <pc:sldMasterMk cId="3705230582" sldId="2147483750"/>
              <pc:sldLayoutMk cId="111108015" sldId="2147483753"/>
              <ac:graphicFrameMk id="13" creationId="{121EFD7B-8C5E-4A74-3D68-8445CD5C11A0}"/>
            </ac:graphicFrameMkLst>
          </pc:graphicFrameChg>
          <pc:cxnChg chg="add">
            <ac:chgData name="Aurelien Domont" userId="6da7715ce44349b3" providerId="LiveId" clId="{054A0FD0-B662-4CE6-BBA9-FE85ACE9B85C}" dt="2023-09-26T06:08:19.291" v="51"/>
            <ac:cxnSpMkLst>
              <pc:docMk/>
              <pc:sldMasterMk cId="3705230582" sldId="2147483750"/>
              <pc:sldLayoutMk cId="111108015" sldId="2147483753"/>
              <ac:cxnSpMk id="16" creationId="{5BFDEFDA-EF91-11E1-C53C-103D47935F20}"/>
            </ac:cxnSpMkLst>
          </pc:cxnChg>
        </pc:sldLayoutChg>
        <pc:sldLayoutChg chg="addSp">
          <pc:chgData name="Aurelien Domont" userId="6da7715ce44349b3" providerId="LiveId" clId="{054A0FD0-B662-4CE6-BBA9-FE85ACE9B85C}" dt="2023-09-26T06:08:19.291" v="51"/>
          <pc:sldLayoutMkLst>
            <pc:docMk/>
            <pc:sldMasterMk cId="3705230582" sldId="2147483750"/>
            <pc:sldLayoutMk cId="2238221131" sldId="2147483755"/>
          </pc:sldLayoutMkLst>
          <pc:spChg chg="add">
            <ac:chgData name="Aurelien Domont" userId="6da7715ce44349b3" providerId="LiveId" clId="{054A0FD0-B662-4CE6-BBA9-FE85ACE9B85C}" dt="2023-09-26T06:08:19.291" v="51"/>
            <ac:spMkLst>
              <pc:docMk/>
              <pc:sldMasterMk cId="3705230582" sldId="2147483750"/>
              <pc:sldLayoutMk cId="2238221131" sldId="2147483755"/>
              <ac:spMk id="19" creationId="{0C919DFA-F088-5DF3-33A3-5E0CCF76EAE2}"/>
            </ac:spMkLst>
          </pc:spChg>
          <pc:spChg chg="add">
            <ac:chgData name="Aurelien Domont" userId="6da7715ce44349b3" providerId="LiveId" clId="{054A0FD0-B662-4CE6-BBA9-FE85ACE9B85C}" dt="2023-09-26T06:08:19.291" v="51"/>
            <ac:spMkLst>
              <pc:docMk/>
              <pc:sldMasterMk cId="3705230582" sldId="2147483750"/>
              <pc:sldLayoutMk cId="2238221131" sldId="2147483755"/>
              <ac:spMk id="20" creationId="{B366C541-7F58-2FDB-96D7-D85ED6F59FEC}"/>
            </ac:spMkLst>
          </pc:spChg>
          <pc:spChg chg="add">
            <ac:chgData name="Aurelien Domont" userId="6da7715ce44349b3" providerId="LiveId" clId="{054A0FD0-B662-4CE6-BBA9-FE85ACE9B85C}" dt="2023-09-26T06:08:19.291" v="51"/>
            <ac:spMkLst>
              <pc:docMk/>
              <pc:sldMasterMk cId="3705230582" sldId="2147483750"/>
              <pc:sldLayoutMk cId="2238221131" sldId="2147483755"/>
              <ac:spMk id="22" creationId="{23F4E622-AD70-CB94-A8C0-729ED43634A9}"/>
            </ac:spMkLst>
          </pc:spChg>
          <pc:graphicFrameChg chg="add">
            <ac:chgData name="Aurelien Domont" userId="6da7715ce44349b3" providerId="LiveId" clId="{054A0FD0-B662-4CE6-BBA9-FE85ACE9B85C}" dt="2023-09-26T06:08:19.291" v="51"/>
            <ac:graphicFrameMkLst>
              <pc:docMk/>
              <pc:sldMasterMk cId="3705230582" sldId="2147483750"/>
              <pc:sldLayoutMk cId="2238221131" sldId="2147483755"/>
              <ac:graphicFrameMk id="18" creationId="{3DE8940D-E1CA-4BFA-1432-225D0622C3B8}"/>
            </ac:graphicFrameMkLst>
          </pc:graphicFrameChg>
          <pc:cxnChg chg="add">
            <ac:chgData name="Aurelien Domont" userId="6da7715ce44349b3" providerId="LiveId" clId="{054A0FD0-B662-4CE6-BBA9-FE85ACE9B85C}" dt="2023-09-26T06:08:19.291" v="51"/>
            <ac:cxnSpMkLst>
              <pc:docMk/>
              <pc:sldMasterMk cId="3705230582" sldId="2147483750"/>
              <pc:sldLayoutMk cId="2238221131" sldId="2147483755"/>
              <ac:cxnSpMk id="21" creationId="{C1DF2179-0790-8C1C-E0D0-74F93A6A53C8}"/>
            </ac:cxnSpMkLst>
          </pc:cxnChg>
        </pc:sldLayoutChg>
      </pc:sldMasterChg>
    </pc:docChg>
  </pc:docChgLst>
  <pc:docChgLst>
    <pc:chgData name="Aurelien Domont" userId="6da7715ce44349b3" providerId="LiveId" clId="{80E7F555-1B84-4F2D-8514-9DD7B564A70A}"/>
    <pc:docChg chg="addSld delSld modSld">
      <pc:chgData name="Aurelien Domont" userId="6da7715ce44349b3" providerId="LiveId" clId="{80E7F555-1B84-4F2D-8514-9DD7B564A70A}" dt="2023-09-29T03:18:30.615" v="2"/>
      <pc:docMkLst>
        <pc:docMk/>
      </pc:docMkLst>
      <pc:sldChg chg="add">
        <pc:chgData name="Aurelien Domont" userId="6da7715ce44349b3" providerId="LiveId" clId="{80E7F555-1B84-4F2D-8514-9DD7B564A70A}" dt="2023-09-29T03:18:30.615" v="2"/>
        <pc:sldMkLst>
          <pc:docMk/>
          <pc:sldMk cId="1754585881" sldId="1598"/>
        </pc:sldMkLst>
      </pc:sldChg>
      <pc:sldChg chg="del">
        <pc:chgData name="Aurelien Domont" userId="6da7715ce44349b3" providerId="LiveId" clId="{80E7F555-1B84-4F2D-8514-9DD7B564A70A}" dt="2023-09-29T03:17:41.964" v="1" actId="47"/>
        <pc:sldMkLst>
          <pc:docMk/>
          <pc:sldMk cId="1289725493" sldId="2149"/>
        </pc:sldMkLst>
      </pc:sldChg>
      <pc:sldChg chg="add">
        <pc:chgData name="Aurelien Domont" userId="6da7715ce44349b3" providerId="LiveId" clId="{80E7F555-1B84-4F2D-8514-9DD7B564A70A}" dt="2023-09-29T03:17:40.293" v="0"/>
        <pc:sldMkLst>
          <pc:docMk/>
          <pc:sldMk cId="145064013" sldId="2213"/>
        </pc:sldMkLst>
      </pc:sldChg>
      <pc:sldChg chg="add">
        <pc:chgData name="Aurelien Domont" userId="6da7715ce44349b3" providerId="LiveId" clId="{80E7F555-1B84-4F2D-8514-9DD7B564A70A}" dt="2023-09-29T03:17:40.293" v="0"/>
        <pc:sldMkLst>
          <pc:docMk/>
          <pc:sldMk cId="2511350442" sldId="2251"/>
        </pc:sldMkLst>
      </pc:sldChg>
    </pc:docChg>
  </pc:docChgLst>
  <pc:docChgLst>
    <pc:chgData name="Aurelien Domont" userId="6da7715ce44349b3" providerId="LiveId" clId="{0AA8FA94-BE50-4311-9FFF-49728C03B66C}"/>
    <pc:docChg chg="delSld">
      <pc:chgData name="Aurelien Domont" userId="6da7715ce44349b3" providerId="LiveId" clId="{0AA8FA94-BE50-4311-9FFF-49728C03B66C}" dt="2021-07-29T01:37:04.300" v="0" actId="47"/>
      <pc:docMkLst>
        <pc:docMk/>
      </pc:docMkLst>
      <pc:sldChg chg="del">
        <pc:chgData name="Aurelien Domont" userId="6da7715ce44349b3" providerId="LiveId" clId="{0AA8FA94-BE50-4311-9FFF-49728C03B66C}" dt="2021-07-29T01:37:04.300" v="0" actId="47"/>
        <pc:sldMkLst>
          <pc:docMk/>
          <pc:sldMk cId="4218880847" sldId="1597"/>
        </pc:sldMkLst>
      </pc:sldChg>
      <pc:sldChg chg="del">
        <pc:chgData name="Aurelien Domont" userId="6da7715ce44349b3" providerId="LiveId" clId="{0AA8FA94-BE50-4311-9FFF-49728C03B66C}" dt="2021-07-29T01:37:04.300" v="0" actId="47"/>
        <pc:sldMkLst>
          <pc:docMk/>
          <pc:sldMk cId="2963656820" sldId="1598"/>
        </pc:sldMkLst>
      </pc:sldChg>
      <pc:sldChg chg="del">
        <pc:chgData name="Aurelien Domont" userId="6da7715ce44349b3" providerId="LiveId" clId="{0AA8FA94-BE50-4311-9FFF-49728C03B66C}" dt="2021-07-29T01:37:04.300" v="0" actId="47"/>
        <pc:sldMkLst>
          <pc:docMk/>
          <pc:sldMk cId="2227065228" sldId="1599"/>
        </pc:sldMkLst>
      </pc:sldChg>
    </pc:docChg>
  </pc:docChgLst>
  <pc:docChgLst>
    <pc:chgData name="Aurelien Domont" userId="6da7715ce44349b3" providerId="LiveId" clId="{0A580229-C45C-49E7-91A4-E2AEDE805075}"/>
    <pc:docChg chg="custSel delSld modSld">
      <pc:chgData name="Aurelien Domont" userId="6da7715ce44349b3" providerId="LiveId" clId="{0A580229-C45C-49E7-91A4-E2AEDE805075}" dt="2020-09-24T05:59:14.469" v="4" actId="22"/>
      <pc:docMkLst>
        <pc:docMk/>
      </pc:docMkLst>
      <pc:sldChg chg="modSp mod">
        <pc:chgData name="Aurelien Domont" userId="6da7715ce44349b3" providerId="LiveId" clId="{0A580229-C45C-49E7-91A4-E2AEDE805075}" dt="2020-09-24T05:57:20.778" v="0"/>
        <pc:sldMkLst>
          <pc:docMk/>
          <pc:sldMk cId="3131901387" sldId="256"/>
        </pc:sldMkLst>
        <pc:spChg chg="mod">
          <ac:chgData name="Aurelien Domont" userId="6da7715ce44349b3" providerId="LiveId" clId="{0A580229-C45C-49E7-91A4-E2AEDE805075}" dt="2020-09-24T05:57:20.778" v="0"/>
          <ac:spMkLst>
            <pc:docMk/>
            <pc:sldMk cId="3131901387" sldId="256"/>
            <ac:spMk id="2" creationId="{5261080C-C60C-4746-B6B1-A9A4FFA86785}"/>
          </ac:spMkLst>
        </pc:spChg>
      </pc:sldChg>
      <pc:sldChg chg="del">
        <pc:chgData name="Aurelien Domont" userId="6da7715ce44349b3" providerId="LiveId" clId="{0A580229-C45C-49E7-91A4-E2AEDE805075}" dt="2020-09-24T05:57:56.032" v="2" actId="47"/>
        <pc:sldMkLst>
          <pc:docMk/>
          <pc:sldMk cId="3541831505" sldId="1485"/>
        </pc:sldMkLst>
      </pc:sldChg>
      <pc:sldChg chg="del">
        <pc:chgData name="Aurelien Domont" userId="6da7715ce44349b3" providerId="LiveId" clId="{0A580229-C45C-49E7-91A4-E2AEDE805075}" dt="2020-09-24T05:57:56.032" v="2" actId="47"/>
        <pc:sldMkLst>
          <pc:docMk/>
          <pc:sldMk cId="3955345242" sldId="1486"/>
        </pc:sldMkLst>
      </pc:sldChg>
      <pc:sldChg chg="del">
        <pc:chgData name="Aurelien Domont" userId="6da7715ce44349b3" providerId="LiveId" clId="{0A580229-C45C-49E7-91A4-E2AEDE805075}" dt="2020-09-24T05:57:56.032" v="2" actId="47"/>
        <pc:sldMkLst>
          <pc:docMk/>
          <pc:sldMk cId="2196636638" sldId="1514"/>
        </pc:sldMkLst>
      </pc:sldChg>
      <pc:sldChg chg="del">
        <pc:chgData name="Aurelien Domont" userId="6da7715ce44349b3" providerId="LiveId" clId="{0A580229-C45C-49E7-91A4-E2AEDE805075}" dt="2020-09-24T05:57:56.032" v="2" actId="47"/>
        <pc:sldMkLst>
          <pc:docMk/>
          <pc:sldMk cId="2787656539" sldId="1522"/>
        </pc:sldMkLst>
      </pc:sldChg>
      <pc:sldChg chg="del">
        <pc:chgData name="Aurelien Domont" userId="6da7715ce44349b3" providerId="LiveId" clId="{0A580229-C45C-49E7-91A4-E2AEDE805075}" dt="2020-09-24T05:57:56.032" v="2" actId="47"/>
        <pc:sldMkLst>
          <pc:docMk/>
          <pc:sldMk cId="3999182053" sldId="1523"/>
        </pc:sldMkLst>
      </pc:sldChg>
      <pc:sldChg chg="del">
        <pc:chgData name="Aurelien Domont" userId="6da7715ce44349b3" providerId="LiveId" clId="{0A580229-C45C-49E7-91A4-E2AEDE805075}" dt="2020-09-24T05:57:56.032" v="2" actId="47"/>
        <pc:sldMkLst>
          <pc:docMk/>
          <pc:sldMk cId="1797320448" sldId="1524"/>
        </pc:sldMkLst>
      </pc:sldChg>
      <pc:sldChg chg="del">
        <pc:chgData name="Aurelien Domont" userId="6da7715ce44349b3" providerId="LiveId" clId="{0A580229-C45C-49E7-91A4-E2AEDE805075}" dt="2020-09-24T05:57:56.032" v="2" actId="47"/>
        <pc:sldMkLst>
          <pc:docMk/>
          <pc:sldMk cId="2269545995" sldId="1527"/>
        </pc:sldMkLst>
      </pc:sldChg>
      <pc:sldChg chg="del">
        <pc:chgData name="Aurelien Domont" userId="6da7715ce44349b3" providerId="LiveId" clId="{0A580229-C45C-49E7-91A4-E2AEDE805075}" dt="2020-09-24T05:57:56.032" v="2" actId="47"/>
        <pc:sldMkLst>
          <pc:docMk/>
          <pc:sldMk cId="3959346130" sldId="1528"/>
        </pc:sldMkLst>
      </pc:sldChg>
      <pc:sldChg chg="del">
        <pc:chgData name="Aurelien Domont" userId="6da7715ce44349b3" providerId="LiveId" clId="{0A580229-C45C-49E7-91A4-E2AEDE805075}" dt="2020-09-24T05:57:56.032" v="2" actId="47"/>
        <pc:sldMkLst>
          <pc:docMk/>
          <pc:sldMk cId="1274624640" sldId="1529"/>
        </pc:sldMkLst>
      </pc:sldChg>
      <pc:sldChg chg="del">
        <pc:chgData name="Aurelien Domont" userId="6da7715ce44349b3" providerId="LiveId" clId="{0A580229-C45C-49E7-91A4-E2AEDE805075}" dt="2020-09-24T05:57:56.032" v="2" actId="47"/>
        <pc:sldMkLst>
          <pc:docMk/>
          <pc:sldMk cId="1975890044" sldId="1530"/>
        </pc:sldMkLst>
      </pc:sldChg>
      <pc:sldChg chg="del">
        <pc:chgData name="Aurelien Domont" userId="6da7715ce44349b3" providerId="LiveId" clId="{0A580229-C45C-49E7-91A4-E2AEDE805075}" dt="2020-09-24T05:57:41.544" v="1" actId="47"/>
        <pc:sldMkLst>
          <pc:docMk/>
          <pc:sldMk cId="2658212128" sldId="1531"/>
        </pc:sldMkLst>
      </pc:sldChg>
      <pc:sldChg chg="del">
        <pc:chgData name="Aurelien Domont" userId="6da7715ce44349b3" providerId="LiveId" clId="{0A580229-C45C-49E7-91A4-E2AEDE805075}" dt="2020-09-24T05:57:56.032" v="2" actId="47"/>
        <pc:sldMkLst>
          <pc:docMk/>
          <pc:sldMk cId="3394427650" sldId="1532"/>
        </pc:sldMkLst>
      </pc:sldChg>
      <pc:sldChg chg="del">
        <pc:chgData name="Aurelien Domont" userId="6da7715ce44349b3" providerId="LiveId" clId="{0A580229-C45C-49E7-91A4-E2AEDE805075}" dt="2020-09-24T05:57:56.032" v="2" actId="47"/>
        <pc:sldMkLst>
          <pc:docMk/>
          <pc:sldMk cId="1088062463" sldId="1533"/>
        </pc:sldMkLst>
      </pc:sldChg>
      <pc:sldChg chg="del">
        <pc:chgData name="Aurelien Domont" userId="6da7715ce44349b3" providerId="LiveId" clId="{0A580229-C45C-49E7-91A4-E2AEDE805075}" dt="2020-09-24T05:57:56.032" v="2" actId="47"/>
        <pc:sldMkLst>
          <pc:docMk/>
          <pc:sldMk cId="1910651352" sldId="1534"/>
        </pc:sldMkLst>
      </pc:sldChg>
      <pc:sldChg chg="del">
        <pc:chgData name="Aurelien Domont" userId="6da7715ce44349b3" providerId="LiveId" clId="{0A580229-C45C-49E7-91A4-E2AEDE805075}" dt="2020-09-24T05:57:56.032" v="2" actId="47"/>
        <pc:sldMkLst>
          <pc:docMk/>
          <pc:sldMk cId="1126293394" sldId="1535"/>
        </pc:sldMkLst>
      </pc:sldChg>
      <pc:sldChg chg="del">
        <pc:chgData name="Aurelien Domont" userId="6da7715ce44349b3" providerId="LiveId" clId="{0A580229-C45C-49E7-91A4-E2AEDE805075}" dt="2020-09-24T05:57:56.032" v="2" actId="47"/>
        <pc:sldMkLst>
          <pc:docMk/>
          <pc:sldMk cId="2940895127" sldId="1536"/>
        </pc:sldMkLst>
      </pc:sldChg>
      <pc:sldChg chg="del">
        <pc:chgData name="Aurelien Domont" userId="6da7715ce44349b3" providerId="LiveId" clId="{0A580229-C45C-49E7-91A4-E2AEDE805075}" dt="2020-09-24T05:57:56.032" v="2" actId="47"/>
        <pc:sldMkLst>
          <pc:docMk/>
          <pc:sldMk cId="1524790854" sldId="1539"/>
        </pc:sldMkLst>
      </pc:sldChg>
      <pc:sldChg chg="del">
        <pc:chgData name="Aurelien Domont" userId="6da7715ce44349b3" providerId="LiveId" clId="{0A580229-C45C-49E7-91A4-E2AEDE805075}" dt="2020-09-24T05:57:56.032" v="2" actId="47"/>
        <pc:sldMkLst>
          <pc:docMk/>
          <pc:sldMk cId="451120741" sldId="1540"/>
        </pc:sldMkLst>
      </pc:sldChg>
      <pc:sldChg chg="del">
        <pc:chgData name="Aurelien Domont" userId="6da7715ce44349b3" providerId="LiveId" clId="{0A580229-C45C-49E7-91A4-E2AEDE805075}" dt="2020-09-24T05:57:56.032" v="2" actId="47"/>
        <pc:sldMkLst>
          <pc:docMk/>
          <pc:sldMk cId="3407596443" sldId="1541"/>
        </pc:sldMkLst>
      </pc:sldChg>
      <pc:sldChg chg="del">
        <pc:chgData name="Aurelien Domont" userId="6da7715ce44349b3" providerId="LiveId" clId="{0A580229-C45C-49E7-91A4-E2AEDE805075}" dt="2020-09-24T05:57:56.032" v="2" actId="47"/>
        <pc:sldMkLst>
          <pc:docMk/>
          <pc:sldMk cId="1337823923" sldId="1542"/>
        </pc:sldMkLst>
      </pc:sldChg>
      <pc:sldChg chg="del">
        <pc:chgData name="Aurelien Domont" userId="6da7715ce44349b3" providerId="LiveId" clId="{0A580229-C45C-49E7-91A4-E2AEDE805075}" dt="2020-09-24T05:57:56.032" v="2" actId="47"/>
        <pc:sldMkLst>
          <pc:docMk/>
          <pc:sldMk cId="463535054" sldId="1543"/>
        </pc:sldMkLst>
      </pc:sldChg>
      <pc:sldChg chg="del">
        <pc:chgData name="Aurelien Domont" userId="6da7715ce44349b3" providerId="LiveId" clId="{0A580229-C45C-49E7-91A4-E2AEDE805075}" dt="2020-09-24T05:57:56.032" v="2" actId="47"/>
        <pc:sldMkLst>
          <pc:docMk/>
          <pc:sldMk cId="1976536532" sldId="1544"/>
        </pc:sldMkLst>
      </pc:sldChg>
      <pc:sldChg chg="del">
        <pc:chgData name="Aurelien Domont" userId="6da7715ce44349b3" providerId="LiveId" clId="{0A580229-C45C-49E7-91A4-E2AEDE805075}" dt="2020-09-24T05:57:56.032" v="2" actId="47"/>
        <pc:sldMkLst>
          <pc:docMk/>
          <pc:sldMk cId="3281614676" sldId="1546"/>
        </pc:sldMkLst>
      </pc:sldChg>
      <pc:sldChg chg="del">
        <pc:chgData name="Aurelien Domont" userId="6da7715ce44349b3" providerId="LiveId" clId="{0A580229-C45C-49E7-91A4-E2AEDE805075}" dt="2020-09-24T05:57:56.032" v="2" actId="47"/>
        <pc:sldMkLst>
          <pc:docMk/>
          <pc:sldMk cId="2217072393" sldId="1548"/>
        </pc:sldMkLst>
      </pc:sldChg>
      <pc:sldChg chg="del">
        <pc:chgData name="Aurelien Domont" userId="6da7715ce44349b3" providerId="LiveId" clId="{0A580229-C45C-49E7-91A4-E2AEDE805075}" dt="2020-09-24T05:57:56.032" v="2" actId="47"/>
        <pc:sldMkLst>
          <pc:docMk/>
          <pc:sldMk cId="2041847375" sldId="1549"/>
        </pc:sldMkLst>
      </pc:sldChg>
      <pc:sldChg chg="del">
        <pc:chgData name="Aurelien Domont" userId="6da7715ce44349b3" providerId="LiveId" clId="{0A580229-C45C-49E7-91A4-E2AEDE805075}" dt="2020-09-24T05:57:56.032" v="2" actId="47"/>
        <pc:sldMkLst>
          <pc:docMk/>
          <pc:sldMk cId="1965174538" sldId="1550"/>
        </pc:sldMkLst>
      </pc:sldChg>
      <pc:sldChg chg="del">
        <pc:chgData name="Aurelien Domont" userId="6da7715ce44349b3" providerId="LiveId" clId="{0A580229-C45C-49E7-91A4-E2AEDE805075}" dt="2020-09-24T05:57:56.032" v="2" actId="47"/>
        <pc:sldMkLst>
          <pc:docMk/>
          <pc:sldMk cId="541360282" sldId="1551"/>
        </pc:sldMkLst>
      </pc:sldChg>
      <pc:sldChg chg="del">
        <pc:chgData name="Aurelien Domont" userId="6da7715ce44349b3" providerId="LiveId" clId="{0A580229-C45C-49E7-91A4-E2AEDE805075}" dt="2020-09-24T05:57:41.544" v="1" actId="47"/>
        <pc:sldMkLst>
          <pc:docMk/>
          <pc:sldMk cId="495896922" sldId="1566"/>
        </pc:sldMkLst>
      </pc:sldChg>
      <pc:sldChg chg="del">
        <pc:chgData name="Aurelien Domont" userId="6da7715ce44349b3" providerId="LiveId" clId="{0A580229-C45C-49E7-91A4-E2AEDE805075}" dt="2020-09-24T05:57:56.032" v="2" actId="47"/>
        <pc:sldMkLst>
          <pc:docMk/>
          <pc:sldMk cId="3141538077" sldId="1584"/>
        </pc:sldMkLst>
      </pc:sldChg>
      <pc:sldChg chg="del">
        <pc:chgData name="Aurelien Domont" userId="6da7715ce44349b3" providerId="LiveId" clId="{0A580229-C45C-49E7-91A4-E2AEDE805075}" dt="2020-09-24T05:57:56.032" v="2" actId="47"/>
        <pc:sldMkLst>
          <pc:docMk/>
          <pc:sldMk cId="2955174568" sldId="1585"/>
        </pc:sldMkLst>
      </pc:sldChg>
      <pc:sldChg chg="del">
        <pc:chgData name="Aurelien Domont" userId="6da7715ce44349b3" providerId="LiveId" clId="{0A580229-C45C-49E7-91A4-E2AEDE805075}" dt="2020-09-24T05:57:56.032" v="2" actId="47"/>
        <pc:sldMkLst>
          <pc:docMk/>
          <pc:sldMk cId="441068628" sldId="1586"/>
        </pc:sldMkLst>
      </pc:sldChg>
      <pc:sldChg chg="del">
        <pc:chgData name="Aurelien Domont" userId="6da7715ce44349b3" providerId="LiveId" clId="{0A580229-C45C-49E7-91A4-E2AEDE805075}" dt="2020-09-24T05:57:56.032" v="2" actId="47"/>
        <pc:sldMkLst>
          <pc:docMk/>
          <pc:sldMk cId="2388740087" sldId="1587"/>
        </pc:sldMkLst>
      </pc:sldChg>
      <pc:sldChg chg="del">
        <pc:chgData name="Aurelien Domont" userId="6da7715ce44349b3" providerId="LiveId" clId="{0A580229-C45C-49E7-91A4-E2AEDE805075}" dt="2020-09-24T05:57:56.032" v="2" actId="47"/>
        <pc:sldMkLst>
          <pc:docMk/>
          <pc:sldMk cId="291326997" sldId="1588"/>
        </pc:sldMkLst>
      </pc:sldChg>
      <pc:sldChg chg="del">
        <pc:chgData name="Aurelien Domont" userId="6da7715ce44349b3" providerId="LiveId" clId="{0A580229-C45C-49E7-91A4-E2AEDE805075}" dt="2020-09-24T05:57:56.032" v="2" actId="47"/>
        <pc:sldMkLst>
          <pc:docMk/>
          <pc:sldMk cId="390768061" sldId="1589"/>
        </pc:sldMkLst>
      </pc:sldChg>
      <pc:sldChg chg="del">
        <pc:chgData name="Aurelien Domont" userId="6da7715ce44349b3" providerId="LiveId" clId="{0A580229-C45C-49E7-91A4-E2AEDE805075}" dt="2020-09-24T05:57:56.032" v="2" actId="47"/>
        <pc:sldMkLst>
          <pc:docMk/>
          <pc:sldMk cId="786405692" sldId="1590"/>
        </pc:sldMkLst>
      </pc:sldChg>
      <pc:sldChg chg="del">
        <pc:chgData name="Aurelien Domont" userId="6da7715ce44349b3" providerId="LiveId" clId="{0A580229-C45C-49E7-91A4-E2AEDE805075}" dt="2020-09-24T05:57:56.032" v="2" actId="47"/>
        <pc:sldMkLst>
          <pc:docMk/>
          <pc:sldMk cId="4000412485" sldId="1591"/>
        </pc:sldMkLst>
      </pc:sldChg>
      <pc:sldChg chg="del">
        <pc:chgData name="Aurelien Domont" userId="6da7715ce44349b3" providerId="LiveId" clId="{0A580229-C45C-49E7-91A4-E2AEDE805075}" dt="2020-09-24T05:57:56.032" v="2" actId="47"/>
        <pc:sldMkLst>
          <pc:docMk/>
          <pc:sldMk cId="1827492642" sldId="1592"/>
        </pc:sldMkLst>
      </pc:sldChg>
      <pc:sldChg chg="addSp delSp mod">
        <pc:chgData name="Aurelien Domont" userId="6da7715ce44349b3" providerId="LiveId" clId="{0A580229-C45C-49E7-91A4-E2AEDE805075}" dt="2020-09-24T05:59:14.469" v="4" actId="22"/>
        <pc:sldMkLst>
          <pc:docMk/>
          <pc:sldMk cId="2963656820" sldId="1598"/>
        </pc:sldMkLst>
        <pc:spChg chg="del">
          <ac:chgData name="Aurelien Domont" userId="6da7715ce44349b3" providerId="LiveId" clId="{0A580229-C45C-49E7-91A4-E2AEDE805075}" dt="2020-09-24T05:59:13.844" v="3" actId="478"/>
          <ac:spMkLst>
            <pc:docMk/>
            <pc:sldMk cId="2963656820" sldId="1598"/>
            <ac:spMk id="4" creationId="{1BC1B3F3-AD3B-48B8-9C10-684287D0D20A}"/>
          </ac:spMkLst>
        </pc:spChg>
        <pc:spChg chg="del">
          <ac:chgData name="Aurelien Domont" userId="6da7715ce44349b3" providerId="LiveId" clId="{0A580229-C45C-49E7-91A4-E2AEDE805075}" dt="2020-09-24T05:59:13.844" v="3" actId="478"/>
          <ac:spMkLst>
            <pc:docMk/>
            <pc:sldMk cId="2963656820" sldId="1598"/>
            <ac:spMk id="6" creationId="{DE0F4260-85F5-47B2-8F90-716F6604029A}"/>
          </ac:spMkLst>
        </pc:spChg>
        <pc:spChg chg="add">
          <ac:chgData name="Aurelien Domont" userId="6da7715ce44349b3" providerId="LiveId" clId="{0A580229-C45C-49E7-91A4-E2AEDE805075}" dt="2020-09-24T05:59:14.469" v="4" actId="22"/>
          <ac:spMkLst>
            <pc:docMk/>
            <pc:sldMk cId="2963656820" sldId="1598"/>
            <ac:spMk id="9" creationId="{A4ED0366-4E03-44D3-A237-F7C954911AF8}"/>
          </ac:spMkLst>
        </pc:spChg>
        <pc:spChg chg="del">
          <ac:chgData name="Aurelien Domont" userId="6da7715ce44349b3" providerId="LiveId" clId="{0A580229-C45C-49E7-91A4-E2AEDE805075}" dt="2020-09-24T05:59:13.844" v="3" actId="478"/>
          <ac:spMkLst>
            <pc:docMk/>
            <pc:sldMk cId="2963656820" sldId="1598"/>
            <ac:spMk id="10" creationId="{45724769-7F7A-49A0-978E-58661220D668}"/>
          </ac:spMkLst>
        </pc:spChg>
        <pc:spChg chg="del">
          <ac:chgData name="Aurelien Domont" userId="6da7715ce44349b3" providerId="LiveId" clId="{0A580229-C45C-49E7-91A4-E2AEDE805075}" dt="2020-09-24T05:59:13.844" v="3" actId="478"/>
          <ac:spMkLst>
            <pc:docMk/>
            <pc:sldMk cId="2963656820" sldId="1598"/>
            <ac:spMk id="11" creationId="{523DBC1D-DD8D-4DA5-94CC-277FB53AA1DE}"/>
          </ac:spMkLst>
        </pc:spChg>
        <pc:spChg chg="del">
          <ac:chgData name="Aurelien Domont" userId="6da7715ce44349b3" providerId="LiveId" clId="{0A580229-C45C-49E7-91A4-E2AEDE805075}" dt="2020-09-24T05:59:13.844" v="3" actId="478"/>
          <ac:spMkLst>
            <pc:docMk/>
            <pc:sldMk cId="2963656820" sldId="1598"/>
            <ac:spMk id="13" creationId="{9323C349-62E8-4FBD-AB14-A96D3D6D8849}"/>
          </ac:spMkLst>
        </pc:spChg>
        <pc:spChg chg="add">
          <ac:chgData name="Aurelien Domont" userId="6da7715ce44349b3" providerId="LiveId" clId="{0A580229-C45C-49E7-91A4-E2AEDE805075}" dt="2020-09-24T05:59:14.469" v="4" actId="22"/>
          <ac:spMkLst>
            <pc:docMk/>
            <pc:sldMk cId="2963656820" sldId="1598"/>
            <ac:spMk id="16" creationId="{DEAD65D9-B3C8-404C-A3D4-E26CA2C7B8A1}"/>
          </ac:spMkLst>
        </pc:spChg>
        <pc:spChg chg="add">
          <ac:chgData name="Aurelien Domont" userId="6da7715ce44349b3" providerId="LiveId" clId="{0A580229-C45C-49E7-91A4-E2AEDE805075}" dt="2020-09-24T05:59:14.469" v="4" actId="22"/>
          <ac:spMkLst>
            <pc:docMk/>
            <pc:sldMk cId="2963656820" sldId="1598"/>
            <ac:spMk id="18" creationId="{2134CD7D-D6D8-40E9-9641-619760DE377F}"/>
          </ac:spMkLst>
        </pc:spChg>
        <pc:spChg chg="add">
          <ac:chgData name="Aurelien Domont" userId="6da7715ce44349b3" providerId="LiveId" clId="{0A580229-C45C-49E7-91A4-E2AEDE805075}" dt="2020-09-24T05:59:14.469" v="4" actId="22"/>
          <ac:spMkLst>
            <pc:docMk/>
            <pc:sldMk cId="2963656820" sldId="1598"/>
            <ac:spMk id="20" creationId="{221E186F-7FF2-4C63-B499-11CA009FC029}"/>
          </ac:spMkLst>
        </pc:spChg>
        <pc:picChg chg="del">
          <ac:chgData name="Aurelien Domont" userId="6da7715ce44349b3" providerId="LiveId" clId="{0A580229-C45C-49E7-91A4-E2AEDE805075}" dt="2020-09-24T05:59:13.844" v="3" actId="478"/>
          <ac:picMkLst>
            <pc:docMk/>
            <pc:sldMk cId="2963656820" sldId="1598"/>
            <ac:picMk id="5" creationId="{530D23B6-B04F-4109-B341-3DBA966E11F5}"/>
          </ac:picMkLst>
        </pc:picChg>
        <pc:picChg chg="add">
          <ac:chgData name="Aurelien Domont" userId="6da7715ce44349b3" providerId="LiveId" clId="{0A580229-C45C-49E7-91A4-E2AEDE805075}" dt="2020-09-24T05:59:14.469" v="4" actId="22"/>
          <ac:picMkLst>
            <pc:docMk/>
            <pc:sldMk cId="2963656820" sldId="1598"/>
            <ac:picMk id="8" creationId="{B7631932-E31D-465B-A788-BE3A0139ADF2}"/>
          </ac:picMkLst>
        </pc:picChg>
      </pc:sldChg>
      <pc:sldChg chg="del">
        <pc:chgData name="Aurelien Domont" userId="6da7715ce44349b3" providerId="LiveId" clId="{0A580229-C45C-49E7-91A4-E2AEDE805075}" dt="2020-09-24T05:57:56.032" v="2" actId="47"/>
        <pc:sldMkLst>
          <pc:docMk/>
          <pc:sldMk cId="4187678811" sldId="1643"/>
        </pc:sldMkLst>
      </pc:sldChg>
      <pc:sldChg chg="del">
        <pc:chgData name="Aurelien Domont" userId="6da7715ce44349b3" providerId="LiveId" clId="{0A580229-C45C-49E7-91A4-E2AEDE805075}" dt="2020-09-24T05:57:56.032" v="2" actId="47"/>
        <pc:sldMkLst>
          <pc:docMk/>
          <pc:sldMk cId="1414109469" sldId="1644"/>
        </pc:sldMkLst>
      </pc:sldChg>
      <pc:sldChg chg="del">
        <pc:chgData name="Aurelien Domont" userId="6da7715ce44349b3" providerId="LiveId" clId="{0A580229-C45C-49E7-91A4-E2AEDE805075}" dt="2020-09-24T05:57:56.032" v="2" actId="47"/>
        <pc:sldMkLst>
          <pc:docMk/>
          <pc:sldMk cId="1234189101" sldId="1645"/>
        </pc:sldMkLst>
      </pc:sldChg>
      <pc:sldChg chg="del">
        <pc:chgData name="Aurelien Domont" userId="6da7715ce44349b3" providerId="LiveId" clId="{0A580229-C45C-49E7-91A4-E2AEDE805075}" dt="2020-09-24T05:57:56.032" v="2" actId="47"/>
        <pc:sldMkLst>
          <pc:docMk/>
          <pc:sldMk cId="1109763747" sldId="1646"/>
        </pc:sldMkLst>
      </pc:sldChg>
      <pc:sldChg chg="del">
        <pc:chgData name="Aurelien Domont" userId="6da7715ce44349b3" providerId="LiveId" clId="{0A580229-C45C-49E7-91A4-E2AEDE805075}" dt="2020-09-24T05:57:56.032" v="2" actId="47"/>
        <pc:sldMkLst>
          <pc:docMk/>
          <pc:sldMk cId="3299241872" sldId="1647"/>
        </pc:sldMkLst>
      </pc:sldChg>
      <pc:sldChg chg="del">
        <pc:chgData name="Aurelien Domont" userId="6da7715ce44349b3" providerId="LiveId" clId="{0A580229-C45C-49E7-91A4-E2AEDE805075}" dt="2020-09-24T05:57:41.544" v="1" actId="47"/>
        <pc:sldMkLst>
          <pc:docMk/>
          <pc:sldMk cId="1840726201" sldId="1710"/>
        </pc:sldMkLst>
      </pc:sldChg>
      <pc:sldChg chg="del">
        <pc:chgData name="Aurelien Domont" userId="6da7715ce44349b3" providerId="LiveId" clId="{0A580229-C45C-49E7-91A4-E2AEDE805075}" dt="2020-09-24T05:57:41.544" v="1" actId="47"/>
        <pc:sldMkLst>
          <pc:docMk/>
          <pc:sldMk cId="1252826214" sldId="1711"/>
        </pc:sldMkLst>
      </pc:sldChg>
      <pc:sldChg chg="del">
        <pc:chgData name="Aurelien Domont" userId="6da7715ce44349b3" providerId="LiveId" clId="{0A580229-C45C-49E7-91A4-E2AEDE805075}" dt="2020-09-24T05:57:41.544" v="1" actId="47"/>
        <pc:sldMkLst>
          <pc:docMk/>
          <pc:sldMk cId="4270418479" sldId="1712"/>
        </pc:sldMkLst>
      </pc:sldChg>
      <pc:sldChg chg="del">
        <pc:chgData name="Aurelien Domont" userId="6da7715ce44349b3" providerId="LiveId" clId="{0A580229-C45C-49E7-91A4-E2AEDE805075}" dt="2020-09-24T05:57:41.544" v="1" actId="47"/>
        <pc:sldMkLst>
          <pc:docMk/>
          <pc:sldMk cId="2185366922" sldId="1713"/>
        </pc:sldMkLst>
      </pc:sldChg>
      <pc:sldChg chg="del">
        <pc:chgData name="Aurelien Domont" userId="6da7715ce44349b3" providerId="LiveId" clId="{0A580229-C45C-49E7-91A4-E2AEDE805075}" dt="2020-09-24T05:57:41.544" v="1" actId="47"/>
        <pc:sldMkLst>
          <pc:docMk/>
          <pc:sldMk cId="49581372" sldId="1715"/>
        </pc:sldMkLst>
      </pc:sldChg>
      <pc:sldChg chg="del">
        <pc:chgData name="Aurelien Domont" userId="6da7715ce44349b3" providerId="LiveId" clId="{0A580229-C45C-49E7-91A4-E2AEDE805075}" dt="2020-09-24T05:57:41.544" v="1" actId="47"/>
        <pc:sldMkLst>
          <pc:docMk/>
          <pc:sldMk cId="149366500" sldId="1716"/>
        </pc:sldMkLst>
      </pc:sldChg>
      <pc:sldChg chg="del">
        <pc:chgData name="Aurelien Domont" userId="6da7715ce44349b3" providerId="LiveId" clId="{0A580229-C45C-49E7-91A4-E2AEDE805075}" dt="2020-09-24T05:57:41.544" v="1" actId="47"/>
        <pc:sldMkLst>
          <pc:docMk/>
          <pc:sldMk cId="1221621126" sldId="1717"/>
        </pc:sldMkLst>
      </pc:sldChg>
      <pc:sldChg chg="del">
        <pc:chgData name="Aurelien Domont" userId="6da7715ce44349b3" providerId="LiveId" clId="{0A580229-C45C-49E7-91A4-E2AEDE805075}" dt="2020-09-24T05:57:41.544" v="1" actId="47"/>
        <pc:sldMkLst>
          <pc:docMk/>
          <pc:sldMk cId="346265768" sldId="1718"/>
        </pc:sldMkLst>
      </pc:sldChg>
      <pc:sldChg chg="del">
        <pc:chgData name="Aurelien Domont" userId="6da7715ce44349b3" providerId="LiveId" clId="{0A580229-C45C-49E7-91A4-E2AEDE805075}" dt="2020-09-24T05:57:41.544" v="1" actId="47"/>
        <pc:sldMkLst>
          <pc:docMk/>
          <pc:sldMk cId="3309154187" sldId="1720"/>
        </pc:sldMkLst>
      </pc:sldChg>
      <pc:sldChg chg="del">
        <pc:chgData name="Aurelien Domont" userId="6da7715ce44349b3" providerId="LiveId" clId="{0A580229-C45C-49E7-91A4-E2AEDE805075}" dt="2020-09-24T05:57:41.544" v="1" actId="47"/>
        <pc:sldMkLst>
          <pc:docMk/>
          <pc:sldMk cId="3582862380" sldId="1721"/>
        </pc:sldMkLst>
      </pc:sldChg>
      <pc:sldChg chg="del">
        <pc:chgData name="Aurelien Domont" userId="6da7715ce44349b3" providerId="LiveId" clId="{0A580229-C45C-49E7-91A4-E2AEDE805075}" dt="2020-09-24T05:57:41.544" v="1" actId="47"/>
        <pc:sldMkLst>
          <pc:docMk/>
          <pc:sldMk cId="2410734669" sldId="1722"/>
        </pc:sldMkLst>
      </pc:sldChg>
      <pc:sldChg chg="del">
        <pc:chgData name="Aurelien Domont" userId="6da7715ce44349b3" providerId="LiveId" clId="{0A580229-C45C-49E7-91A4-E2AEDE805075}" dt="2020-09-24T05:57:41.544" v="1" actId="47"/>
        <pc:sldMkLst>
          <pc:docMk/>
          <pc:sldMk cId="1126708650" sldId="1723"/>
        </pc:sldMkLst>
      </pc:sldChg>
      <pc:sldChg chg="del">
        <pc:chgData name="Aurelien Domont" userId="6da7715ce44349b3" providerId="LiveId" clId="{0A580229-C45C-49E7-91A4-E2AEDE805075}" dt="2020-09-24T05:57:41.544" v="1" actId="47"/>
        <pc:sldMkLst>
          <pc:docMk/>
          <pc:sldMk cId="706002708" sldId="1724"/>
        </pc:sldMkLst>
      </pc:sldChg>
      <pc:sldChg chg="del">
        <pc:chgData name="Aurelien Domont" userId="6da7715ce44349b3" providerId="LiveId" clId="{0A580229-C45C-49E7-91A4-E2AEDE805075}" dt="2020-09-24T05:57:41.544" v="1" actId="47"/>
        <pc:sldMkLst>
          <pc:docMk/>
          <pc:sldMk cId="3822808377" sldId="1726"/>
        </pc:sldMkLst>
      </pc:sldChg>
      <pc:sldChg chg="del">
        <pc:chgData name="Aurelien Domont" userId="6da7715ce44349b3" providerId="LiveId" clId="{0A580229-C45C-49E7-91A4-E2AEDE805075}" dt="2020-09-24T05:57:41.544" v="1" actId="47"/>
        <pc:sldMkLst>
          <pc:docMk/>
          <pc:sldMk cId="4252631156" sldId="1727"/>
        </pc:sldMkLst>
      </pc:sldChg>
      <pc:sldChg chg="del">
        <pc:chgData name="Aurelien Domont" userId="6da7715ce44349b3" providerId="LiveId" clId="{0A580229-C45C-49E7-91A4-E2AEDE805075}" dt="2020-09-24T05:57:41.544" v="1" actId="47"/>
        <pc:sldMkLst>
          <pc:docMk/>
          <pc:sldMk cId="2707152844" sldId="1728"/>
        </pc:sldMkLst>
      </pc:sldChg>
      <pc:sldChg chg="del">
        <pc:chgData name="Aurelien Domont" userId="6da7715ce44349b3" providerId="LiveId" clId="{0A580229-C45C-49E7-91A4-E2AEDE805075}" dt="2020-09-24T05:57:41.544" v="1" actId="47"/>
        <pc:sldMkLst>
          <pc:docMk/>
          <pc:sldMk cId="3129616765" sldId="1729"/>
        </pc:sldMkLst>
      </pc:sldChg>
      <pc:sldChg chg="del">
        <pc:chgData name="Aurelien Domont" userId="6da7715ce44349b3" providerId="LiveId" clId="{0A580229-C45C-49E7-91A4-E2AEDE805075}" dt="2020-09-24T05:57:41.544" v="1" actId="47"/>
        <pc:sldMkLst>
          <pc:docMk/>
          <pc:sldMk cId="2261387360" sldId="1730"/>
        </pc:sldMkLst>
      </pc:sldChg>
      <pc:sldChg chg="del">
        <pc:chgData name="Aurelien Domont" userId="6da7715ce44349b3" providerId="LiveId" clId="{0A580229-C45C-49E7-91A4-E2AEDE805075}" dt="2020-09-24T05:57:41.544" v="1" actId="47"/>
        <pc:sldMkLst>
          <pc:docMk/>
          <pc:sldMk cId="2559634087" sldId="1731"/>
        </pc:sldMkLst>
      </pc:sldChg>
      <pc:sldChg chg="del">
        <pc:chgData name="Aurelien Domont" userId="6da7715ce44349b3" providerId="LiveId" clId="{0A580229-C45C-49E7-91A4-E2AEDE805075}" dt="2020-09-24T05:57:41.544" v="1" actId="47"/>
        <pc:sldMkLst>
          <pc:docMk/>
          <pc:sldMk cId="3647771828" sldId="1732"/>
        </pc:sldMkLst>
      </pc:sldChg>
      <pc:sldChg chg="del">
        <pc:chgData name="Aurelien Domont" userId="6da7715ce44349b3" providerId="LiveId" clId="{0A580229-C45C-49E7-91A4-E2AEDE805075}" dt="2020-09-24T05:57:41.544" v="1" actId="47"/>
        <pc:sldMkLst>
          <pc:docMk/>
          <pc:sldMk cId="2682075537" sldId="1751"/>
        </pc:sldMkLst>
      </pc:sldChg>
      <pc:sldChg chg="del">
        <pc:chgData name="Aurelien Domont" userId="6da7715ce44349b3" providerId="LiveId" clId="{0A580229-C45C-49E7-91A4-E2AEDE805075}" dt="2020-09-24T05:57:41.544" v="1" actId="47"/>
        <pc:sldMkLst>
          <pc:docMk/>
          <pc:sldMk cId="1290266937" sldId="1752"/>
        </pc:sldMkLst>
      </pc:sldChg>
      <pc:sldChg chg="del">
        <pc:chgData name="Aurelien Domont" userId="6da7715ce44349b3" providerId="LiveId" clId="{0A580229-C45C-49E7-91A4-E2AEDE805075}" dt="2020-09-24T05:57:41.544" v="1" actId="47"/>
        <pc:sldMkLst>
          <pc:docMk/>
          <pc:sldMk cId="590854696" sldId="1754"/>
        </pc:sldMkLst>
      </pc:sldChg>
      <pc:sldChg chg="del">
        <pc:chgData name="Aurelien Domont" userId="6da7715ce44349b3" providerId="LiveId" clId="{0A580229-C45C-49E7-91A4-E2AEDE805075}" dt="2020-09-24T05:57:41.544" v="1" actId="47"/>
        <pc:sldMkLst>
          <pc:docMk/>
          <pc:sldMk cId="2368243610" sldId="1755"/>
        </pc:sldMkLst>
      </pc:sldChg>
      <pc:sldChg chg="del">
        <pc:chgData name="Aurelien Domont" userId="6da7715ce44349b3" providerId="LiveId" clId="{0A580229-C45C-49E7-91A4-E2AEDE805075}" dt="2020-09-24T05:57:41.544" v="1" actId="47"/>
        <pc:sldMkLst>
          <pc:docMk/>
          <pc:sldMk cId="2444597522" sldId="1756"/>
        </pc:sldMkLst>
      </pc:sldChg>
      <pc:sldChg chg="del">
        <pc:chgData name="Aurelien Domont" userId="6da7715ce44349b3" providerId="LiveId" clId="{0A580229-C45C-49E7-91A4-E2AEDE805075}" dt="2020-09-24T05:57:41.544" v="1" actId="47"/>
        <pc:sldMkLst>
          <pc:docMk/>
          <pc:sldMk cId="4223850858" sldId="1783"/>
        </pc:sldMkLst>
      </pc:sldChg>
      <pc:sldChg chg="del">
        <pc:chgData name="Aurelien Domont" userId="6da7715ce44349b3" providerId="LiveId" clId="{0A580229-C45C-49E7-91A4-E2AEDE805075}" dt="2020-09-24T05:57:41.544" v="1" actId="47"/>
        <pc:sldMkLst>
          <pc:docMk/>
          <pc:sldMk cId="3682643906" sldId="1784"/>
        </pc:sldMkLst>
      </pc:sldChg>
      <pc:sldChg chg="del">
        <pc:chgData name="Aurelien Domont" userId="6da7715ce44349b3" providerId="LiveId" clId="{0A580229-C45C-49E7-91A4-E2AEDE805075}" dt="2020-09-24T05:57:41.544" v="1" actId="47"/>
        <pc:sldMkLst>
          <pc:docMk/>
          <pc:sldMk cId="2593158095" sldId="1785"/>
        </pc:sldMkLst>
      </pc:sldChg>
      <pc:sldChg chg="del">
        <pc:chgData name="Aurelien Domont" userId="6da7715ce44349b3" providerId="LiveId" clId="{0A580229-C45C-49E7-91A4-E2AEDE805075}" dt="2020-09-24T05:57:41.544" v="1" actId="47"/>
        <pc:sldMkLst>
          <pc:docMk/>
          <pc:sldMk cId="1847092578" sldId="1787"/>
        </pc:sldMkLst>
      </pc:sldChg>
      <pc:sldChg chg="del">
        <pc:chgData name="Aurelien Domont" userId="6da7715ce44349b3" providerId="LiveId" clId="{0A580229-C45C-49E7-91A4-E2AEDE805075}" dt="2020-09-24T05:57:41.544" v="1" actId="47"/>
        <pc:sldMkLst>
          <pc:docMk/>
          <pc:sldMk cId="1784327036" sldId="1788"/>
        </pc:sldMkLst>
      </pc:sldChg>
      <pc:sldChg chg="del">
        <pc:chgData name="Aurelien Domont" userId="6da7715ce44349b3" providerId="LiveId" clId="{0A580229-C45C-49E7-91A4-E2AEDE805075}" dt="2020-09-24T05:57:41.544" v="1" actId="47"/>
        <pc:sldMkLst>
          <pc:docMk/>
          <pc:sldMk cId="836423941" sldId="1789"/>
        </pc:sldMkLst>
      </pc:sldChg>
      <pc:sldChg chg="del">
        <pc:chgData name="Aurelien Domont" userId="6da7715ce44349b3" providerId="LiveId" clId="{0A580229-C45C-49E7-91A4-E2AEDE805075}" dt="2020-09-24T05:57:56.032" v="2" actId="47"/>
        <pc:sldMkLst>
          <pc:docMk/>
          <pc:sldMk cId="446710727" sldId="1799"/>
        </pc:sldMkLst>
      </pc:sldChg>
      <pc:sldChg chg="del">
        <pc:chgData name="Aurelien Domont" userId="6da7715ce44349b3" providerId="LiveId" clId="{0A580229-C45C-49E7-91A4-E2AEDE805075}" dt="2020-09-24T05:57:56.032" v="2" actId="47"/>
        <pc:sldMkLst>
          <pc:docMk/>
          <pc:sldMk cId="2934982480" sldId="1800"/>
        </pc:sldMkLst>
      </pc:sldChg>
      <pc:sldChg chg="del">
        <pc:chgData name="Aurelien Domont" userId="6da7715ce44349b3" providerId="LiveId" clId="{0A580229-C45C-49E7-91A4-E2AEDE805075}" dt="2020-09-24T05:57:56.032" v="2" actId="47"/>
        <pc:sldMkLst>
          <pc:docMk/>
          <pc:sldMk cId="4027485137" sldId="1801"/>
        </pc:sldMkLst>
      </pc:sldChg>
      <pc:sldChg chg="del">
        <pc:chgData name="Aurelien Domont" userId="6da7715ce44349b3" providerId="LiveId" clId="{0A580229-C45C-49E7-91A4-E2AEDE805075}" dt="2020-09-24T05:57:56.032" v="2" actId="47"/>
        <pc:sldMkLst>
          <pc:docMk/>
          <pc:sldMk cId="2027060615" sldId="1802"/>
        </pc:sldMkLst>
      </pc:sldChg>
      <pc:sldChg chg="del">
        <pc:chgData name="Aurelien Domont" userId="6da7715ce44349b3" providerId="LiveId" clId="{0A580229-C45C-49E7-91A4-E2AEDE805075}" dt="2020-09-24T05:57:56.032" v="2" actId="47"/>
        <pc:sldMkLst>
          <pc:docMk/>
          <pc:sldMk cId="2645445553" sldId="1803"/>
        </pc:sldMkLst>
      </pc:sldChg>
      <pc:sldChg chg="del">
        <pc:chgData name="Aurelien Domont" userId="6da7715ce44349b3" providerId="LiveId" clId="{0A580229-C45C-49E7-91A4-E2AEDE805075}" dt="2020-09-24T05:57:56.032" v="2" actId="47"/>
        <pc:sldMkLst>
          <pc:docMk/>
          <pc:sldMk cId="577137796" sldId="1813"/>
        </pc:sldMkLst>
      </pc:sldChg>
      <pc:sldChg chg="del">
        <pc:chgData name="Aurelien Domont" userId="6da7715ce44349b3" providerId="LiveId" clId="{0A580229-C45C-49E7-91A4-E2AEDE805075}" dt="2020-09-24T05:57:56.032" v="2" actId="47"/>
        <pc:sldMkLst>
          <pc:docMk/>
          <pc:sldMk cId="1896251341" sldId="1814"/>
        </pc:sldMkLst>
      </pc:sldChg>
      <pc:sldChg chg="del">
        <pc:chgData name="Aurelien Domont" userId="6da7715ce44349b3" providerId="LiveId" clId="{0A580229-C45C-49E7-91A4-E2AEDE805075}" dt="2020-09-24T05:57:56.032" v="2" actId="47"/>
        <pc:sldMkLst>
          <pc:docMk/>
          <pc:sldMk cId="2788480823" sldId="1815"/>
        </pc:sldMkLst>
      </pc:sldChg>
      <pc:sldChg chg="del">
        <pc:chgData name="Aurelien Domont" userId="6da7715ce44349b3" providerId="LiveId" clId="{0A580229-C45C-49E7-91A4-E2AEDE805075}" dt="2020-09-24T05:57:56.032" v="2" actId="47"/>
        <pc:sldMkLst>
          <pc:docMk/>
          <pc:sldMk cId="1897413801" sldId="1816"/>
        </pc:sldMkLst>
      </pc:sldChg>
      <pc:sldChg chg="del">
        <pc:chgData name="Aurelien Domont" userId="6da7715ce44349b3" providerId="LiveId" clId="{0A580229-C45C-49E7-91A4-E2AEDE805075}" dt="2020-09-24T05:57:56.032" v="2" actId="47"/>
        <pc:sldMkLst>
          <pc:docMk/>
          <pc:sldMk cId="4012927952" sldId="1817"/>
        </pc:sldMkLst>
      </pc:sldChg>
      <pc:sldChg chg="del">
        <pc:chgData name="Aurelien Domont" userId="6da7715ce44349b3" providerId="LiveId" clId="{0A580229-C45C-49E7-91A4-E2AEDE805075}" dt="2020-09-24T05:57:56.032" v="2" actId="47"/>
        <pc:sldMkLst>
          <pc:docMk/>
          <pc:sldMk cId="2496838968" sldId="1818"/>
        </pc:sldMkLst>
      </pc:sldChg>
      <pc:sldChg chg="del">
        <pc:chgData name="Aurelien Domont" userId="6da7715ce44349b3" providerId="LiveId" clId="{0A580229-C45C-49E7-91A4-E2AEDE805075}" dt="2020-09-24T05:57:56.032" v="2" actId="47"/>
        <pc:sldMkLst>
          <pc:docMk/>
          <pc:sldMk cId="3539351688" sldId="1819"/>
        </pc:sldMkLst>
      </pc:sldChg>
      <pc:sldChg chg="del">
        <pc:chgData name="Aurelien Domont" userId="6da7715ce44349b3" providerId="LiveId" clId="{0A580229-C45C-49E7-91A4-E2AEDE805075}" dt="2020-09-24T05:57:56.032" v="2" actId="47"/>
        <pc:sldMkLst>
          <pc:docMk/>
          <pc:sldMk cId="2521045682" sldId="1820"/>
        </pc:sldMkLst>
      </pc:sldChg>
      <pc:sldChg chg="del">
        <pc:chgData name="Aurelien Domont" userId="6da7715ce44349b3" providerId="LiveId" clId="{0A580229-C45C-49E7-91A4-E2AEDE805075}" dt="2020-09-24T05:57:56.032" v="2" actId="47"/>
        <pc:sldMkLst>
          <pc:docMk/>
          <pc:sldMk cId="556780585" sldId="1821"/>
        </pc:sldMkLst>
      </pc:sldChg>
      <pc:sldChg chg="del">
        <pc:chgData name="Aurelien Domont" userId="6da7715ce44349b3" providerId="LiveId" clId="{0A580229-C45C-49E7-91A4-E2AEDE805075}" dt="2020-09-24T05:57:56.032" v="2" actId="47"/>
        <pc:sldMkLst>
          <pc:docMk/>
          <pc:sldMk cId="2298648506" sldId="1822"/>
        </pc:sldMkLst>
      </pc:sldChg>
      <pc:sldChg chg="del">
        <pc:chgData name="Aurelien Domont" userId="6da7715ce44349b3" providerId="LiveId" clId="{0A580229-C45C-49E7-91A4-E2AEDE805075}" dt="2020-09-24T05:57:56.032" v="2" actId="47"/>
        <pc:sldMkLst>
          <pc:docMk/>
          <pc:sldMk cId="3420118133" sldId="1823"/>
        </pc:sldMkLst>
      </pc:sldChg>
      <pc:sldChg chg="del">
        <pc:chgData name="Aurelien Domont" userId="6da7715ce44349b3" providerId="LiveId" clId="{0A580229-C45C-49E7-91A4-E2AEDE805075}" dt="2020-09-24T05:57:56.032" v="2" actId="47"/>
        <pc:sldMkLst>
          <pc:docMk/>
          <pc:sldMk cId="1652201713" sldId="1825"/>
        </pc:sldMkLst>
      </pc:sldChg>
      <pc:sldChg chg="del">
        <pc:chgData name="Aurelien Domont" userId="6da7715ce44349b3" providerId="LiveId" clId="{0A580229-C45C-49E7-91A4-E2AEDE805075}" dt="2020-09-24T05:57:56.032" v="2" actId="47"/>
        <pc:sldMkLst>
          <pc:docMk/>
          <pc:sldMk cId="2487581603" sldId="1826"/>
        </pc:sldMkLst>
      </pc:sldChg>
      <pc:sldChg chg="del">
        <pc:chgData name="Aurelien Domont" userId="6da7715ce44349b3" providerId="LiveId" clId="{0A580229-C45C-49E7-91A4-E2AEDE805075}" dt="2020-09-24T05:57:56.032" v="2" actId="47"/>
        <pc:sldMkLst>
          <pc:docMk/>
          <pc:sldMk cId="2528475478" sldId="1827"/>
        </pc:sldMkLst>
      </pc:sldChg>
      <pc:sldChg chg="del">
        <pc:chgData name="Aurelien Domont" userId="6da7715ce44349b3" providerId="LiveId" clId="{0A580229-C45C-49E7-91A4-E2AEDE805075}" dt="2020-09-24T05:57:56.032" v="2" actId="47"/>
        <pc:sldMkLst>
          <pc:docMk/>
          <pc:sldMk cId="502382361" sldId="1828"/>
        </pc:sldMkLst>
      </pc:sldChg>
      <pc:sldChg chg="del">
        <pc:chgData name="Aurelien Domont" userId="6da7715ce44349b3" providerId="LiveId" clId="{0A580229-C45C-49E7-91A4-E2AEDE805075}" dt="2020-09-24T05:57:56.032" v="2" actId="47"/>
        <pc:sldMkLst>
          <pc:docMk/>
          <pc:sldMk cId="4048300819" sldId="1829"/>
        </pc:sldMkLst>
      </pc:sldChg>
      <pc:sldChg chg="del">
        <pc:chgData name="Aurelien Domont" userId="6da7715ce44349b3" providerId="LiveId" clId="{0A580229-C45C-49E7-91A4-E2AEDE805075}" dt="2020-09-24T05:57:56.032" v="2" actId="47"/>
        <pc:sldMkLst>
          <pc:docMk/>
          <pc:sldMk cId="549305809" sldId="1830"/>
        </pc:sldMkLst>
      </pc:sldChg>
      <pc:sldChg chg="del">
        <pc:chgData name="Aurelien Domont" userId="6da7715ce44349b3" providerId="LiveId" clId="{0A580229-C45C-49E7-91A4-E2AEDE805075}" dt="2020-09-24T05:57:56.032" v="2" actId="47"/>
        <pc:sldMkLst>
          <pc:docMk/>
          <pc:sldMk cId="3032871948" sldId="1831"/>
        </pc:sldMkLst>
      </pc:sldChg>
      <pc:sldChg chg="del">
        <pc:chgData name="Aurelien Domont" userId="6da7715ce44349b3" providerId="LiveId" clId="{0A580229-C45C-49E7-91A4-E2AEDE805075}" dt="2020-09-24T05:57:56.032" v="2" actId="47"/>
        <pc:sldMkLst>
          <pc:docMk/>
          <pc:sldMk cId="2726378784" sldId="1832"/>
        </pc:sldMkLst>
      </pc:sldChg>
      <pc:sldChg chg="del">
        <pc:chgData name="Aurelien Domont" userId="6da7715ce44349b3" providerId="LiveId" clId="{0A580229-C45C-49E7-91A4-E2AEDE805075}" dt="2020-09-24T05:57:56.032" v="2" actId="47"/>
        <pc:sldMkLst>
          <pc:docMk/>
          <pc:sldMk cId="2868448844" sldId="1834"/>
        </pc:sldMkLst>
      </pc:sldChg>
      <pc:sldChg chg="del">
        <pc:chgData name="Aurelien Domont" userId="6da7715ce44349b3" providerId="LiveId" clId="{0A580229-C45C-49E7-91A4-E2AEDE805075}" dt="2020-09-24T05:57:56.032" v="2" actId="47"/>
        <pc:sldMkLst>
          <pc:docMk/>
          <pc:sldMk cId="2589629718" sldId="1835"/>
        </pc:sldMkLst>
      </pc:sldChg>
      <pc:sldChg chg="del">
        <pc:chgData name="Aurelien Domont" userId="6da7715ce44349b3" providerId="LiveId" clId="{0A580229-C45C-49E7-91A4-E2AEDE805075}" dt="2020-09-24T05:57:56.032" v="2" actId="47"/>
        <pc:sldMkLst>
          <pc:docMk/>
          <pc:sldMk cId="21732525" sldId="1837"/>
        </pc:sldMkLst>
      </pc:sldChg>
      <pc:sldChg chg="del">
        <pc:chgData name="Aurelien Domont" userId="6da7715ce44349b3" providerId="LiveId" clId="{0A580229-C45C-49E7-91A4-E2AEDE805075}" dt="2020-09-24T05:57:56.032" v="2" actId="47"/>
        <pc:sldMkLst>
          <pc:docMk/>
          <pc:sldMk cId="3254536435" sldId="1838"/>
        </pc:sldMkLst>
      </pc:sldChg>
      <pc:sldChg chg="del">
        <pc:chgData name="Aurelien Domont" userId="6da7715ce44349b3" providerId="LiveId" clId="{0A580229-C45C-49E7-91A4-E2AEDE805075}" dt="2020-09-24T05:57:56.032" v="2" actId="47"/>
        <pc:sldMkLst>
          <pc:docMk/>
          <pc:sldMk cId="1466535327" sldId="1839"/>
        </pc:sldMkLst>
      </pc:sldChg>
      <pc:sldChg chg="del">
        <pc:chgData name="Aurelien Domont" userId="6da7715ce44349b3" providerId="LiveId" clId="{0A580229-C45C-49E7-91A4-E2AEDE805075}" dt="2020-09-24T05:57:56.032" v="2" actId="47"/>
        <pc:sldMkLst>
          <pc:docMk/>
          <pc:sldMk cId="3709922513" sldId="1844"/>
        </pc:sldMkLst>
      </pc:sldChg>
      <pc:sldChg chg="del">
        <pc:chgData name="Aurelien Domont" userId="6da7715ce44349b3" providerId="LiveId" clId="{0A580229-C45C-49E7-91A4-E2AEDE805075}" dt="2020-09-24T05:57:56.032" v="2" actId="47"/>
        <pc:sldMkLst>
          <pc:docMk/>
          <pc:sldMk cId="446430054" sldId="1846"/>
        </pc:sldMkLst>
      </pc:sldChg>
      <pc:sldChg chg="del">
        <pc:chgData name="Aurelien Domont" userId="6da7715ce44349b3" providerId="LiveId" clId="{0A580229-C45C-49E7-91A4-E2AEDE805075}" dt="2020-09-24T05:57:56.032" v="2" actId="47"/>
        <pc:sldMkLst>
          <pc:docMk/>
          <pc:sldMk cId="3195464106" sldId="1848"/>
        </pc:sldMkLst>
      </pc:sldChg>
      <pc:sldChg chg="del">
        <pc:chgData name="Aurelien Domont" userId="6da7715ce44349b3" providerId="LiveId" clId="{0A580229-C45C-49E7-91A4-E2AEDE805075}" dt="2020-09-24T05:57:56.032" v="2" actId="47"/>
        <pc:sldMkLst>
          <pc:docMk/>
          <pc:sldMk cId="2273094456" sldId="1849"/>
        </pc:sldMkLst>
      </pc:sldChg>
      <pc:sldChg chg="del">
        <pc:chgData name="Aurelien Domont" userId="6da7715ce44349b3" providerId="LiveId" clId="{0A580229-C45C-49E7-91A4-E2AEDE805075}" dt="2020-09-24T05:57:56.032" v="2" actId="47"/>
        <pc:sldMkLst>
          <pc:docMk/>
          <pc:sldMk cId="3338280881" sldId="1850"/>
        </pc:sldMkLst>
      </pc:sldChg>
      <pc:sldChg chg="del">
        <pc:chgData name="Aurelien Domont" userId="6da7715ce44349b3" providerId="LiveId" clId="{0A580229-C45C-49E7-91A4-E2AEDE805075}" dt="2020-09-24T05:57:56.032" v="2" actId="47"/>
        <pc:sldMkLst>
          <pc:docMk/>
          <pc:sldMk cId="2012911054" sldId="1851"/>
        </pc:sldMkLst>
      </pc:sldChg>
      <pc:sldChg chg="del">
        <pc:chgData name="Aurelien Domont" userId="6da7715ce44349b3" providerId="LiveId" clId="{0A580229-C45C-49E7-91A4-E2AEDE805075}" dt="2020-09-24T05:57:56.032" v="2" actId="47"/>
        <pc:sldMkLst>
          <pc:docMk/>
          <pc:sldMk cId="235612040" sldId="1852"/>
        </pc:sldMkLst>
      </pc:sldChg>
      <pc:sldChg chg="del">
        <pc:chgData name="Aurelien Domont" userId="6da7715ce44349b3" providerId="LiveId" clId="{0A580229-C45C-49E7-91A4-E2AEDE805075}" dt="2020-09-24T05:57:56.032" v="2" actId="47"/>
        <pc:sldMkLst>
          <pc:docMk/>
          <pc:sldMk cId="1115830260" sldId="1866"/>
        </pc:sldMkLst>
      </pc:sldChg>
      <pc:sldChg chg="del">
        <pc:chgData name="Aurelien Domont" userId="6da7715ce44349b3" providerId="LiveId" clId="{0A580229-C45C-49E7-91A4-E2AEDE805075}" dt="2020-09-24T05:57:56.032" v="2" actId="47"/>
        <pc:sldMkLst>
          <pc:docMk/>
          <pc:sldMk cId="2865633080" sldId="1867"/>
        </pc:sldMkLst>
      </pc:sldChg>
      <pc:sldChg chg="del">
        <pc:chgData name="Aurelien Domont" userId="6da7715ce44349b3" providerId="LiveId" clId="{0A580229-C45C-49E7-91A4-E2AEDE805075}" dt="2020-09-24T05:57:56.032" v="2" actId="47"/>
        <pc:sldMkLst>
          <pc:docMk/>
          <pc:sldMk cId="3094640934" sldId="1868"/>
        </pc:sldMkLst>
      </pc:sldChg>
      <pc:sldChg chg="del">
        <pc:chgData name="Aurelien Domont" userId="6da7715ce44349b3" providerId="LiveId" clId="{0A580229-C45C-49E7-91A4-E2AEDE805075}" dt="2020-09-24T05:57:56.032" v="2" actId="47"/>
        <pc:sldMkLst>
          <pc:docMk/>
          <pc:sldMk cId="1106829532" sldId="1869"/>
        </pc:sldMkLst>
      </pc:sldChg>
      <pc:sldChg chg="del">
        <pc:chgData name="Aurelien Domont" userId="6da7715ce44349b3" providerId="LiveId" clId="{0A580229-C45C-49E7-91A4-E2AEDE805075}" dt="2020-09-24T05:57:56.032" v="2" actId="47"/>
        <pc:sldMkLst>
          <pc:docMk/>
          <pc:sldMk cId="3856180733" sldId="1900"/>
        </pc:sldMkLst>
      </pc:sldChg>
      <pc:sldChg chg="del">
        <pc:chgData name="Aurelien Domont" userId="6da7715ce44349b3" providerId="LiveId" clId="{0A580229-C45C-49E7-91A4-E2AEDE805075}" dt="2020-09-24T05:57:56.032" v="2" actId="47"/>
        <pc:sldMkLst>
          <pc:docMk/>
          <pc:sldMk cId="2473752307" sldId="1901"/>
        </pc:sldMkLst>
      </pc:sldChg>
      <pc:sldChg chg="del">
        <pc:chgData name="Aurelien Domont" userId="6da7715ce44349b3" providerId="LiveId" clId="{0A580229-C45C-49E7-91A4-E2AEDE805075}" dt="2020-09-24T05:57:56.032" v="2" actId="47"/>
        <pc:sldMkLst>
          <pc:docMk/>
          <pc:sldMk cId="1881091784" sldId="1902"/>
        </pc:sldMkLst>
      </pc:sldChg>
      <pc:sldChg chg="del">
        <pc:chgData name="Aurelien Domont" userId="6da7715ce44349b3" providerId="LiveId" clId="{0A580229-C45C-49E7-91A4-E2AEDE805075}" dt="2020-09-24T05:57:56.032" v="2" actId="47"/>
        <pc:sldMkLst>
          <pc:docMk/>
          <pc:sldMk cId="3250585977" sldId="1903"/>
        </pc:sldMkLst>
      </pc:sldChg>
      <pc:sldChg chg="del">
        <pc:chgData name="Aurelien Domont" userId="6da7715ce44349b3" providerId="LiveId" clId="{0A580229-C45C-49E7-91A4-E2AEDE805075}" dt="2020-09-24T05:57:56.032" v="2" actId="47"/>
        <pc:sldMkLst>
          <pc:docMk/>
          <pc:sldMk cId="2671911552" sldId="1906"/>
        </pc:sldMkLst>
      </pc:sldChg>
      <pc:sldChg chg="del">
        <pc:chgData name="Aurelien Domont" userId="6da7715ce44349b3" providerId="LiveId" clId="{0A580229-C45C-49E7-91A4-E2AEDE805075}" dt="2020-09-24T05:57:56.032" v="2" actId="47"/>
        <pc:sldMkLst>
          <pc:docMk/>
          <pc:sldMk cId="900190454" sldId="1907"/>
        </pc:sldMkLst>
      </pc:sldChg>
      <pc:sldChg chg="del">
        <pc:chgData name="Aurelien Domont" userId="6da7715ce44349b3" providerId="LiveId" clId="{0A580229-C45C-49E7-91A4-E2AEDE805075}" dt="2020-09-24T05:57:56.032" v="2" actId="47"/>
        <pc:sldMkLst>
          <pc:docMk/>
          <pc:sldMk cId="2410138019" sldId="1908"/>
        </pc:sldMkLst>
      </pc:sldChg>
      <pc:sldChg chg="del">
        <pc:chgData name="Aurelien Domont" userId="6da7715ce44349b3" providerId="LiveId" clId="{0A580229-C45C-49E7-91A4-E2AEDE805075}" dt="2020-09-24T05:57:56.032" v="2" actId="47"/>
        <pc:sldMkLst>
          <pc:docMk/>
          <pc:sldMk cId="3074136715" sldId="1909"/>
        </pc:sldMkLst>
      </pc:sldChg>
      <pc:sldChg chg="del">
        <pc:chgData name="Aurelien Domont" userId="6da7715ce44349b3" providerId="LiveId" clId="{0A580229-C45C-49E7-91A4-E2AEDE805075}" dt="2020-09-24T05:57:56.032" v="2" actId="47"/>
        <pc:sldMkLst>
          <pc:docMk/>
          <pc:sldMk cId="875062746" sldId="1910"/>
        </pc:sldMkLst>
      </pc:sldChg>
      <pc:sldChg chg="del">
        <pc:chgData name="Aurelien Domont" userId="6da7715ce44349b3" providerId="LiveId" clId="{0A580229-C45C-49E7-91A4-E2AEDE805075}" dt="2020-09-24T05:57:56.032" v="2" actId="47"/>
        <pc:sldMkLst>
          <pc:docMk/>
          <pc:sldMk cId="3649638210" sldId="1912"/>
        </pc:sldMkLst>
      </pc:sldChg>
      <pc:sldChg chg="del">
        <pc:chgData name="Aurelien Domont" userId="6da7715ce44349b3" providerId="LiveId" clId="{0A580229-C45C-49E7-91A4-E2AEDE805075}" dt="2020-09-24T05:57:56.032" v="2" actId="47"/>
        <pc:sldMkLst>
          <pc:docMk/>
          <pc:sldMk cId="4115673740" sldId="1913"/>
        </pc:sldMkLst>
      </pc:sldChg>
      <pc:sldChg chg="del">
        <pc:chgData name="Aurelien Domont" userId="6da7715ce44349b3" providerId="LiveId" clId="{0A580229-C45C-49E7-91A4-E2AEDE805075}" dt="2020-09-24T05:57:56.032" v="2" actId="47"/>
        <pc:sldMkLst>
          <pc:docMk/>
          <pc:sldMk cId="944392297" sldId="1914"/>
        </pc:sldMkLst>
      </pc:sldChg>
      <pc:sldChg chg="del">
        <pc:chgData name="Aurelien Domont" userId="6da7715ce44349b3" providerId="LiveId" clId="{0A580229-C45C-49E7-91A4-E2AEDE805075}" dt="2020-09-24T05:57:56.032" v="2" actId="47"/>
        <pc:sldMkLst>
          <pc:docMk/>
          <pc:sldMk cId="830270588" sldId="1915"/>
        </pc:sldMkLst>
      </pc:sldChg>
      <pc:sldChg chg="del">
        <pc:chgData name="Aurelien Domont" userId="6da7715ce44349b3" providerId="LiveId" clId="{0A580229-C45C-49E7-91A4-E2AEDE805075}" dt="2020-09-24T05:57:56.032" v="2" actId="47"/>
        <pc:sldMkLst>
          <pc:docMk/>
          <pc:sldMk cId="325079507" sldId="1916"/>
        </pc:sldMkLst>
      </pc:sldChg>
      <pc:sldChg chg="del">
        <pc:chgData name="Aurelien Domont" userId="6da7715ce44349b3" providerId="LiveId" clId="{0A580229-C45C-49E7-91A4-E2AEDE805075}" dt="2020-09-24T05:57:41.544" v="1" actId="47"/>
        <pc:sldMkLst>
          <pc:docMk/>
          <pc:sldMk cId="2933365510" sldId="1917"/>
        </pc:sldMkLst>
      </pc:sldChg>
      <pc:sldChg chg="del">
        <pc:chgData name="Aurelien Domont" userId="6da7715ce44349b3" providerId="LiveId" clId="{0A580229-C45C-49E7-91A4-E2AEDE805075}" dt="2020-09-24T05:57:41.544" v="1" actId="47"/>
        <pc:sldMkLst>
          <pc:docMk/>
          <pc:sldMk cId="2413136907" sldId="1918"/>
        </pc:sldMkLst>
      </pc:sldChg>
      <pc:sldChg chg="del">
        <pc:chgData name="Aurelien Domont" userId="6da7715ce44349b3" providerId="LiveId" clId="{0A580229-C45C-49E7-91A4-E2AEDE805075}" dt="2020-09-24T05:57:41.544" v="1" actId="47"/>
        <pc:sldMkLst>
          <pc:docMk/>
          <pc:sldMk cId="2642662311" sldId="1919"/>
        </pc:sldMkLst>
      </pc:sldChg>
      <pc:sldChg chg="del">
        <pc:chgData name="Aurelien Domont" userId="6da7715ce44349b3" providerId="LiveId" clId="{0A580229-C45C-49E7-91A4-E2AEDE805075}" dt="2020-09-24T05:57:41.544" v="1" actId="47"/>
        <pc:sldMkLst>
          <pc:docMk/>
          <pc:sldMk cId="1121000075" sldId="1920"/>
        </pc:sldMkLst>
      </pc:sldChg>
      <pc:sldChg chg="del">
        <pc:chgData name="Aurelien Domont" userId="6da7715ce44349b3" providerId="LiveId" clId="{0A580229-C45C-49E7-91A4-E2AEDE805075}" dt="2020-09-24T05:57:41.544" v="1" actId="47"/>
        <pc:sldMkLst>
          <pc:docMk/>
          <pc:sldMk cId="781758609" sldId="1921"/>
        </pc:sldMkLst>
      </pc:sldChg>
      <pc:sldChg chg="del">
        <pc:chgData name="Aurelien Domont" userId="6da7715ce44349b3" providerId="LiveId" clId="{0A580229-C45C-49E7-91A4-E2AEDE805075}" dt="2020-09-24T05:57:41.544" v="1" actId="47"/>
        <pc:sldMkLst>
          <pc:docMk/>
          <pc:sldMk cId="3237798585" sldId="1923"/>
        </pc:sldMkLst>
      </pc:sldChg>
      <pc:sldChg chg="del">
        <pc:chgData name="Aurelien Domont" userId="6da7715ce44349b3" providerId="LiveId" clId="{0A580229-C45C-49E7-91A4-E2AEDE805075}" dt="2020-09-24T05:57:41.544" v="1" actId="47"/>
        <pc:sldMkLst>
          <pc:docMk/>
          <pc:sldMk cId="1761394904" sldId="1924"/>
        </pc:sldMkLst>
      </pc:sldChg>
      <pc:sldChg chg="del">
        <pc:chgData name="Aurelien Domont" userId="6da7715ce44349b3" providerId="LiveId" clId="{0A580229-C45C-49E7-91A4-E2AEDE805075}" dt="2020-09-24T05:57:41.544" v="1" actId="47"/>
        <pc:sldMkLst>
          <pc:docMk/>
          <pc:sldMk cId="1350097355" sldId="1925"/>
        </pc:sldMkLst>
      </pc:sldChg>
      <pc:sldChg chg="del">
        <pc:chgData name="Aurelien Domont" userId="6da7715ce44349b3" providerId="LiveId" clId="{0A580229-C45C-49E7-91A4-E2AEDE805075}" dt="2020-09-24T05:57:41.544" v="1" actId="47"/>
        <pc:sldMkLst>
          <pc:docMk/>
          <pc:sldMk cId="743404772" sldId="1926"/>
        </pc:sldMkLst>
      </pc:sldChg>
      <pc:sldChg chg="del">
        <pc:chgData name="Aurelien Domont" userId="6da7715ce44349b3" providerId="LiveId" clId="{0A580229-C45C-49E7-91A4-E2AEDE805075}" dt="2020-09-24T05:57:56.032" v="2" actId="47"/>
        <pc:sldMkLst>
          <pc:docMk/>
          <pc:sldMk cId="2378696413" sldId="1927"/>
        </pc:sldMkLst>
      </pc:sldChg>
      <pc:sldChg chg="del">
        <pc:chgData name="Aurelien Domont" userId="6da7715ce44349b3" providerId="LiveId" clId="{0A580229-C45C-49E7-91A4-E2AEDE805075}" dt="2020-09-24T05:57:56.032" v="2" actId="47"/>
        <pc:sldMkLst>
          <pc:docMk/>
          <pc:sldMk cId="1504699577" sldId="1928"/>
        </pc:sldMkLst>
      </pc:sldChg>
      <pc:sldChg chg="del">
        <pc:chgData name="Aurelien Domont" userId="6da7715ce44349b3" providerId="LiveId" clId="{0A580229-C45C-49E7-91A4-E2AEDE805075}" dt="2020-09-24T05:57:56.032" v="2" actId="47"/>
        <pc:sldMkLst>
          <pc:docMk/>
          <pc:sldMk cId="2324655255" sldId="1929"/>
        </pc:sldMkLst>
      </pc:sldChg>
      <pc:sldChg chg="del">
        <pc:chgData name="Aurelien Domont" userId="6da7715ce44349b3" providerId="LiveId" clId="{0A580229-C45C-49E7-91A4-E2AEDE805075}" dt="2020-09-24T05:57:56.032" v="2" actId="47"/>
        <pc:sldMkLst>
          <pc:docMk/>
          <pc:sldMk cId="2732294551" sldId="1930"/>
        </pc:sldMkLst>
      </pc:sldChg>
      <pc:sldChg chg="del">
        <pc:chgData name="Aurelien Domont" userId="6da7715ce44349b3" providerId="LiveId" clId="{0A580229-C45C-49E7-91A4-E2AEDE805075}" dt="2020-09-24T05:57:56.032" v="2" actId="47"/>
        <pc:sldMkLst>
          <pc:docMk/>
          <pc:sldMk cId="177109613" sldId="1931"/>
        </pc:sldMkLst>
      </pc:sldChg>
      <pc:sldChg chg="del">
        <pc:chgData name="Aurelien Domont" userId="6da7715ce44349b3" providerId="LiveId" clId="{0A580229-C45C-49E7-91A4-E2AEDE805075}" dt="2020-09-24T05:57:56.032" v="2" actId="47"/>
        <pc:sldMkLst>
          <pc:docMk/>
          <pc:sldMk cId="773380896" sldId="1932"/>
        </pc:sldMkLst>
      </pc:sldChg>
      <pc:sldChg chg="del">
        <pc:chgData name="Aurelien Domont" userId="6da7715ce44349b3" providerId="LiveId" clId="{0A580229-C45C-49E7-91A4-E2AEDE805075}" dt="2020-09-24T05:57:56.032" v="2" actId="47"/>
        <pc:sldMkLst>
          <pc:docMk/>
          <pc:sldMk cId="2067026259" sldId="1933"/>
        </pc:sldMkLst>
      </pc:sldChg>
      <pc:sldChg chg="del">
        <pc:chgData name="Aurelien Domont" userId="6da7715ce44349b3" providerId="LiveId" clId="{0A580229-C45C-49E7-91A4-E2AEDE805075}" dt="2020-09-24T05:57:56.032" v="2" actId="47"/>
        <pc:sldMkLst>
          <pc:docMk/>
          <pc:sldMk cId="3599886074" sldId="1934"/>
        </pc:sldMkLst>
      </pc:sldChg>
      <pc:sldChg chg="del">
        <pc:chgData name="Aurelien Domont" userId="6da7715ce44349b3" providerId="LiveId" clId="{0A580229-C45C-49E7-91A4-E2AEDE805075}" dt="2020-09-24T05:57:56.032" v="2" actId="47"/>
        <pc:sldMkLst>
          <pc:docMk/>
          <pc:sldMk cId="320506673" sldId="1935"/>
        </pc:sldMkLst>
      </pc:sldChg>
      <pc:sldChg chg="del">
        <pc:chgData name="Aurelien Domont" userId="6da7715ce44349b3" providerId="LiveId" clId="{0A580229-C45C-49E7-91A4-E2AEDE805075}" dt="2020-09-24T05:57:56.032" v="2" actId="47"/>
        <pc:sldMkLst>
          <pc:docMk/>
          <pc:sldMk cId="414790225" sldId="1936"/>
        </pc:sldMkLst>
      </pc:sldChg>
      <pc:sldChg chg="del">
        <pc:chgData name="Aurelien Domont" userId="6da7715ce44349b3" providerId="LiveId" clId="{0A580229-C45C-49E7-91A4-E2AEDE805075}" dt="2020-09-24T05:57:56.032" v="2" actId="47"/>
        <pc:sldMkLst>
          <pc:docMk/>
          <pc:sldMk cId="2921992382" sldId="1937"/>
        </pc:sldMkLst>
      </pc:sldChg>
      <pc:sldChg chg="del">
        <pc:chgData name="Aurelien Domont" userId="6da7715ce44349b3" providerId="LiveId" clId="{0A580229-C45C-49E7-91A4-E2AEDE805075}" dt="2020-09-24T05:57:56.032" v="2" actId="47"/>
        <pc:sldMkLst>
          <pc:docMk/>
          <pc:sldMk cId="2849459003" sldId="1938"/>
        </pc:sldMkLst>
      </pc:sldChg>
      <pc:sldChg chg="del">
        <pc:chgData name="Aurelien Domont" userId="6da7715ce44349b3" providerId="LiveId" clId="{0A580229-C45C-49E7-91A4-E2AEDE805075}" dt="2020-09-24T05:57:56.032" v="2" actId="47"/>
        <pc:sldMkLst>
          <pc:docMk/>
          <pc:sldMk cId="1916394286" sldId="1939"/>
        </pc:sldMkLst>
      </pc:sldChg>
      <pc:sldChg chg="del">
        <pc:chgData name="Aurelien Domont" userId="6da7715ce44349b3" providerId="LiveId" clId="{0A580229-C45C-49E7-91A4-E2AEDE805075}" dt="2020-09-24T05:57:56.032" v="2" actId="47"/>
        <pc:sldMkLst>
          <pc:docMk/>
          <pc:sldMk cId="3538314955" sldId="1940"/>
        </pc:sldMkLst>
      </pc:sldChg>
      <pc:sldChg chg="del">
        <pc:chgData name="Aurelien Domont" userId="6da7715ce44349b3" providerId="LiveId" clId="{0A580229-C45C-49E7-91A4-E2AEDE805075}" dt="2020-09-24T05:57:56.032" v="2" actId="47"/>
        <pc:sldMkLst>
          <pc:docMk/>
          <pc:sldMk cId="296961855" sldId="1941"/>
        </pc:sldMkLst>
      </pc:sldChg>
      <pc:sldChg chg="del">
        <pc:chgData name="Aurelien Domont" userId="6da7715ce44349b3" providerId="LiveId" clId="{0A580229-C45C-49E7-91A4-E2AEDE805075}" dt="2020-09-24T05:57:56.032" v="2" actId="47"/>
        <pc:sldMkLst>
          <pc:docMk/>
          <pc:sldMk cId="3303944539" sldId="1942"/>
        </pc:sldMkLst>
      </pc:sldChg>
      <pc:sldChg chg="del">
        <pc:chgData name="Aurelien Domont" userId="6da7715ce44349b3" providerId="LiveId" clId="{0A580229-C45C-49E7-91A4-E2AEDE805075}" dt="2020-09-24T05:57:56.032" v="2" actId="47"/>
        <pc:sldMkLst>
          <pc:docMk/>
          <pc:sldMk cId="1529607373" sldId="1943"/>
        </pc:sldMkLst>
      </pc:sldChg>
      <pc:sldChg chg="del">
        <pc:chgData name="Aurelien Domont" userId="6da7715ce44349b3" providerId="LiveId" clId="{0A580229-C45C-49E7-91A4-E2AEDE805075}" dt="2020-09-24T05:57:56.032" v="2" actId="47"/>
        <pc:sldMkLst>
          <pc:docMk/>
          <pc:sldMk cId="16709601" sldId="1944"/>
        </pc:sldMkLst>
      </pc:sldChg>
      <pc:sldChg chg="del">
        <pc:chgData name="Aurelien Domont" userId="6da7715ce44349b3" providerId="LiveId" clId="{0A580229-C45C-49E7-91A4-E2AEDE805075}" dt="2020-09-24T05:57:56.032" v="2" actId="47"/>
        <pc:sldMkLst>
          <pc:docMk/>
          <pc:sldMk cId="2071637463" sldId="1945"/>
        </pc:sldMkLst>
      </pc:sldChg>
      <pc:sldChg chg="del">
        <pc:chgData name="Aurelien Domont" userId="6da7715ce44349b3" providerId="LiveId" clId="{0A580229-C45C-49E7-91A4-E2AEDE805075}" dt="2020-09-24T05:57:56.032" v="2" actId="47"/>
        <pc:sldMkLst>
          <pc:docMk/>
          <pc:sldMk cId="1529995357" sldId="1946"/>
        </pc:sldMkLst>
      </pc:sldChg>
      <pc:sldChg chg="del">
        <pc:chgData name="Aurelien Domont" userId="6da7715ce44349b3" providerId="LiveId" clId="{0A580229-C45C-49E7-91A4-E2AEDE805075}" dt="2020-09-24T05:57:56.032" v="2" actId="47"/>
        <pc:sldMkLst>
          <pc:docMk/>
          <pc:sldMk cId="3244318318" sldId="1947"/>
        </pc:sldMkLst>
      </pc:sldChg>
      <pc:sldChg chg="del">
        <pc:chgData name="Aurelien Domont" userId="6da7715ce44349b3" providerId="LiveId" clId="{0A580229-C45C-49E7-91A4-E2AEDE805075}" dt="2020-09-24T05:57:56.032" v="2" actId="47"/>
        <pc:sldMkLst>
          <pc:docMk/>
          <pc:sldMk cId="1506230662" sldId="1948"/>
        </pc:sldMkLst>
      </pc:sldChg>
      <pc:sldChg chg="del">
        <pc:chgData name="Aurelien Domont" userId="6da7715ce44349b3" providerId="LiveId" clId="{0A580229-C45C-49E7-91A4-E2AEDE805075}" dt="2020-09-24T05:57:56.032" v="2" actId="47"/>
        <pc:sldMkLst>
          <pc:docMk/>
          <pc:sldMk cId="1544161779" sldId="194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9/29/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9/2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3700108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15275480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689657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493881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976190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2395075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2099966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36578475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020605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9357170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33239186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78.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80.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9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9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9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7.xml"/><Relationship Id="rId1" Type="http://schemas.openxmlformats.org/officeDocument/2006/relationships/tags" Target="../tags/tag108.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9.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tags" Target="../tags/tag109.xml"/><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110.xml"/><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2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131.xml"/><Relationship Id="rId7" Type="http://schemas.openxmlformats.org/officeDocument/2006/relationships/slideMaster" Target="../slideMasters/slideMaster11.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oleObject" Target="../embeddings/oleObject2.bin"/><Relationship Id="rId5" Type="http://schemas.openxmlformats.org/officeDocument/2006/relationships/tags" Target="../tags/tag133.xml"/><Relationship Id="rId10" Type="http://schemas.openxmlformats.org/officeDocument/2006/relationships/oleObject" Target="../embeddings/oleObject68.bin"/><Relationship Id="rId4" Type="http://schemas.openxmlformats.org/officeDocument/2006/relationships/tags" Target="../tags/tag132.xml"/><Relationship Id="rId9"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137.xml"/><Relationship Id="rId7" Type="http://schemas.openxmlformats.org/officeDocument/2006/relationships/slideMaster" Target="../slideMasters/slideMaster1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oleObject" Target="../embeddings/oleObject3.bin"/><Relationship Id="rId5" Type="http://schemas.openxmlformats.org/officeDocument/2006/relationships/tags" Target="../tags/tag139.xml"/><Relationship Id="rId10" Type="http://schemas.openxmlformats.org/officeDocument/2006/relationships/oleObject" Target="../embeddings/oleObject70.bin"/><Relationship Id="rId4" Type="http://schemas.openxmlformats.org/officeDocument/2006/relationships/tags" Target="../tags/tag138.xml"/><Relationship Id="rId9"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43.xml"/><Relationship Id="rId7" Type="http://schemas.openxmlformats.org/officeDocument/2006/relationships/slideMaster" Target="../slideMasters/slideMaster11.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oleObject" Target="../embeddings/oleObject4.bin"/><Relationship Id="rId5" Type="http://schemas.openxmlformats.org/officeDocument/2006/relationships/tags" Target="../tags/tag145.xml"/><Relationship Id="rId10" Type="http://schemas.openxmlformats.org/officeDocument/2006/relationships/oleObject" Target="../embeddings/oleObject72.bin"/><Relationship Id="rId4" Type="http://schemas.openxmlformats.org/officeDocument/2006/relationships/tags" Target="../tags/tag144.xml"/><Relationship Id="rId9"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tags" Target="../tags/tag151.xml"/><Relationship Id="rId7" Type="http://schemas.openxmlformats.org/officeDocument/2006/relationships/slideMaster" Target="../slideMasters/slideMaster11.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oleObject" Target="../embeddings/oleObject5.bin"/><Relationship Id="rId5" Type="http://schemas.openxmlformats.org/officeDocument/2006/relationships/tags" Target="../tags/tag153.xml"/><Relationship Id="rId10" Type="http://schemas.openxmlformats.org/officeDocument/2006/relationships/oleObject" Target="../embeddings/oleObject75.bin"/><Relationship Id="rId4" Type="http://schemas.openxmlformats.org/officeDocument/2006/relationships/tags" Target="../tags/tag152.xml"/><Relationship Id="rId9"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1.xml"/><Relationship Id="rId1" Type="http://schemas.openxmlformats.org/officeDocument/2006/relationships/tags" Target="../tags/tag155.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1.xml"/><Relationship Id="rId1" Type="http://schemas.openxmlformats.org/officeDocument/2006/relationships/tags" Target="../tags/tag156.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3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6208038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2022871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839421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456773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190114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047945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26051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733425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56186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591767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165817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248416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3581239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73561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475855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690929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551393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6664144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360486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5515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547271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432492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988761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743821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173261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9011682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442141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319034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501031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3826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88873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5580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989610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6124244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939803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533617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354449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433311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216391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894852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graphicFrame>
        <p:nvGraphicFramePr>
          <p:cNvPr id="8" name="Object 7" hidden="1">
            <a:extLst>
              <a:ext uri="{FF2B5EF4-FFF2-40B4-BE49-F238E27FC236}">
                <a16:creationId xmlns:a16="http://schemas.microsoft.com/office/drawing/2014/main" id="{14AA8DE8-1638-262C-9615-B6AAAA0D621C}"/>
              </a:ext>
            </a:extLst>
          </p:cNvPr>
          <p:cNvGraphicFramePr>
            <a:graphicFrameLocks noChangeAspect="1"/>
          </p:cNvGraphicFramePr>
          <p:nvPr userDrawn="1">
            <p:custDataLst>
              <p:tags r:id="rId3"/>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8" name="Object 7" hidden="1">
                        <a:extLst>
                          <a:ext uri="{FF2B5EF4-FFF2-40B4-BE49-F238E27FC236}">
                            <a16:creationId xmlns:a16="http://schemas.microsoft.com/office/drawing/2014/main" id="{14AA8DE8-1638-262C-9615-B6AAAA0D62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EC79019-122C-5CE7-C79E-73977CCDEE45}"/>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9F85CF41-A6F7-9479-7DB4-0071DABFB0CB}"/>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6454633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62626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9830860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750729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032828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164657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284567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96726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01346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90525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080347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4" name="Object 3" hidden="1">
            <a:extLst>
              <a:ext uri="{FF2B5EF4-FFF2-40B4-BE49-F238E27FC236}">
                <a16:creationId xmlns:a16="http://schemas.microsoft.com/office/drawing/2014/main" id="{2C9BF9A8-96C2-40D8-C2AE-2B29B2177096}"/>
              </a:ext>
            </a:extLst>
          </p:cNvPr>
          <p:cNvGraphicFramePr>
            <a:graphicFrameLocks noChangeAspect="1"/>
          </p:cNvGraphicFramePr>
          <p:nvPr userDrawn="1">
            <p:custDataLst>
              <p:tags r:id="rId3"/>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4" name="Object 3" hidden="1">
                        <a:extLst>
                          <a:ext uri="{FF2B5EF4-FFF2-40B4-BE49-F238E27FC236}">
                            <a16:creationId xmlns:a16="http://schemas.microsoft.com/office/drawing/2014/main" id="{2C9BF9A8-96C2-40D8-C2AE-2B29B21770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CF995C5-A4FD-0472-3C6A-A6830063D8F7}"/>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69E84D9B-ADB1-F54A-A735-12C5F99F93E1}"/>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0" name="Straight Connector 9">
            <a:extLst>
              <a:ext uri="{FF2B5EF4-FFF2-40B4-BE49-F238E27FC236}">
                <a16:creationId xmlns:a16="http://schemas.microsoft.com/office/drawing/2014/main" id="{2AE70263-BC06-1DAA-70DC-5D691A86C0D1}"/>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33758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231944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349326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324275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493180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547907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57228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429125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5182050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20773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51602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2" name="Object 1" hidden="1">
            <a:extLst>
              <a:ext uri="{FF2B5EF4-FFF2-40B4-BE49-F238E27FC236}">
                <a16:creationId xmlns:a16="http://schemas.microsoft.com/office/drawing/2014/main" id="{1FB4AA37-446B-DBBC-86E6-65897F5CED2C}"/>
              </a:ext>
            </a:extLst>
          </p:cNvPr>
          <p:cNvGraphicFramePr>
            <a:graphicFrameLocks noChangeAspect="1"/>
          </p:cNvGraphicFramePr>
          <p:nvPr userDrawn="1">
            <p:custDataLst>
              <p:tags r:id="rId3"/>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1FB4AA37-446B-DBBC-86E6-65897F5CED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7EA62A1-5A78-22A1-C683-F965C9E95746}"/>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BBD9D9CD-B46D-471E-F953-A209E80734A1}"/>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47EB2873-8D9F-C629-07FE-35B6CEBF6CFD}"/>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2063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902425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1811654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850992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00164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939948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9306147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graphicFrame>
        <p:nvGraphicFramePr>
          <p:cNvPr id="8" name="Object 7" hidden="1">
            <a:extLst>
              <a:ext uri="{FF2B5EF4-FFF2-40B4-BE49-F238E27FC236}">
                <a16:creationId xmlns:a16="http://schemas.microsoft.com/office/drawing/2014/main" id="{9A523AEE-DF7D-062F-597A-BFF164BD7342}"/>
              </a:ext>
            </a:extLst>
          </p:cNvPr>
          <p:cNvGraphicFramePr>
            <a:graphicFrameLocks noChangeAspect="1"/>
          </p:cNvGraphicFramePr>
          <p:nvPr>
            <p:custDataLst>
              <p:tags r:id="rId3"/>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6" progId="TCLayout.ActiveDocument.1">
                  <p:embed/>
                </p:oleObj>
              </mc:Choice>
              <mc:Fallback>
                <p:oleObj name="think-cell Slide" r:id="rId10" imgW="425" imgH="426" progId="TCLayout.ActiveDocument.1">
                  <p:embed/>
                  <p:pic>
                    <p:nvPicPr>
                      <p:cNvPr id="8" name="Object 7" hidden="1">
                        <a:extLst>
                          <a:ext uri="{FF2B5EF4-FFF2-40B4-BE49-F238E27FC236}">
                            <a16:creationId xmlns:a16="http://schemas.microsoft.com/office/drawing/2014/main" id="{9A523AEE-DF7D-062F-597A-BFF164BD734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B19FF83-CA3D-5098-04B9-6A2F53272295}"/>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CBBE1F21-E6E5-C81C-7588-C9AD16037932}"/>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11" name="Object 10" hidden="1">
            <a:extLst>
              <a:ext uri="{FF2B5EF4-FFF2-40B4-BE49-F238E27FC236}">
                <a16:creationId xmlns:a16="http://schemas.microsoft.com/office/drawing/2014/main" id="{C8828F9F-7DBB-1FF8-ABBA-5A382E270EF6}"/>
              </a:ext>
            </a:extLst>
          </p:cNvPr>
          <p:cNvGraphicFramePr>
            <a:graphicFrameLocks noChangeAspect="1"/>
          </p:cNvGraphicFramePr>
          <p:nvPr userDrawn="1">
            <p:custDataLst>
              <p:tags r:id="rId5"/>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11" name="Object 10" hidden="1">
                        <a:extLst>
                          <a:ext uri="{FF2B5EF4-FFF2-40B4-BE49-F238E27FC236}">
                            <a16:creationId xmlns:a16="http://schemas.microsoft.com/office/drawing/2014/main" id="{C8828F9F-7DBB-1FF8-ABBA-5A382E270E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AD455CB-22B4-CC93-034F-4A5FACBC21BD}"/>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13BD8704-9703-C5DF-4848-9B03A4D0BAB1}"/>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92593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4" name="Object 3" hidden="1">
            <a:extLst>
              <a:ext uri="{FF2B5EF4-FFF2-40B4-BE49-F238E27FC236}">
                <a16:creationId xmlns:a16="http://schemas.microsoft.com/office/drawing/2014/main" id="{8F987152-7807-F39F-6B26-5C428B896765}"/>
              </a:ext>
            </a:extLst>
          </p:cNvPr>
          <p:cNvGraphicFramePr>
            <a:graphicFrameLocks noChangeAspect="1"/>
          </p:cNvGraphicFramePr>
          <p:nvPr>
            <p:custDataLst>
              <p:tags r:id="rId3"/>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6" progId="TCLayout.ActiveDocument.1">
                  <p:embed/>
                </p:oleObj>
              </mc:Choice>
              <mc:Fallback>
                <p:oleObj name="think-cell Slide" r:id="rId10" imgW="425" imgH="426" progId="TCLayout.ActiveDocument.1">
                  <p:embed/>
                  <p:pic>
                    <p:nvPicPr>
                      <p:cNvPr id="4" name="Object 3" hidden="1">
                        <a:extLst>
                          <a:ext uri="{FF2B5EF4-FFF2-40B4-BE49-F238E27FC236}">
                            <a16:creationId xmlns:a16="http://schemas.microsoft.com/office/drawing/2014/main" id="{8F987152-7807-F39F-6B26-5C428B89676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9BB852-C1B0-25DB-CC13-E743F6521F96}"/>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D537D888-C9BB-CB2C-2952-84297D8940A8}"/>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0" name="Straight Connector 9">
            <a:extLst>
              <a:ext uri="{FF2B5EF4-FFF2-40B4-BE49-F238E27FC236}">
                <a16:creationId xmlns:a16="http://schemas.microsoft.com/office/drawing/2014/main" id="{F121F1F3-0949-AEEF-3A63-7884BC3CC329}"/>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graphicFrame>
        <p:nvGraphicFramePr>
          <p:cNvPr id="12" name="Object 11" hidden="1">
            <a:extLst>
              <a:ext uri="{FF2B5EF4-FFF2-40B4-BE49-F238E27FC236}">
                <a16:creationId xmlns:a16="http://schemas.microsoft.com/office/drawing/2014/main" id="{1B9239A0-68EB-5449-810E-E50002411459}"/>
              </a:ext>
            </a:extLst>
          </p:cNvPr>
          <p:cNvGraphicFramePr>
            <a:graphicFrameLocks noChangeAspect="1"/>
          </p:cNvGraphicFramePr>
          <p:nvPr userDrawn="1">
            <p:custDataLst>
              <p:tags r:id="rId5"/>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12" name="Object 11" hidden="1">
                        <a:extLst>
                          <a:ext uri="{FF2B5EF4-FFF2-40B4-BE49-F238E27FC236}">
                            <a16:creationId xmlns:a16="http://schemas.microsoft.com/office/drawing/2014/main" id="{1B9239A0-68EB-5449-810E-E500024114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775C79-603C-9158-1F7F-FC806B64151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Rectangle 14">
            <a:extLst>
              <a:ext uri="{FF2B5EF4-FFF2-40B4-BE49-F238E27FC236}">
                <a16:creationId xmlns:a16="http://schemas.microsoft.com/office/drawing/2014/main" id="{4F034B15-B725-7082-0876-9C421BDEAC66}"/>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5B1B6C06-A51A-6BE2-C8C8-D8B5F7CB059C}"/>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20441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2" name="Object 1" hidden="1">
            <a:extLst>
              <a:ext uri="{FF2B5EF4-FFF2-40B4-BE49-F238E27FC236}">
                <a16:creationId xmlns:a16="http://schemas.microsoft.com/office/drawing/2014/main" id="{55266D55-3B8A-9146-2F97-D45DC98FC271}"/>
              </a:ext>
            </a:extLst>
          </p:cNvPr>
          <p:cNvGraphicFramePr>
            <a:graphicFrameLocks noChangeAspect="1"/>
          </p:cNvGraphicFramePr>
          <p:nvPr>
            <p:custDataLst>
              <p:tags r:id="rId3"/>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2" name="Object 1" hidden="1">
                        <a:extLst>
                          <a:ext uri="{FF2B5EF4-FFF2-40B4-BE49-F238E27FC236}">
                            <a16:creationId xmlns:a16="http://schemas.microsoft.com/office/drawing/2014/main" id="{55266D55-3B8A-9146-2F97-D45DC98FC27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8370F7-B206-CCD4-9976-904AFE4198E6}"/>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E46A756B-F76C-E2A7-2648-F0FCF37B9C3A}"/>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B3AFA2DB-2407-3067-A3BE-4E7A22D28463}"/>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graphicFrame>
        <p:nvGraphicFramePr>
          <p:cNvPr id="13" name="Object 12" hidden="1">
            <a:extLst>
              <a:ext uri="{FF2B5EF4-FFF2-40B4-BE49-F238E27FC236}">
                <a16:creationId xmlns:a16="http://schemas.microsoft.com/office/drawing/2014/main" id="{121EFD7B-8C5E-4A74-3D68-8445CD5C11A0}"/>
              </a:ext>
            </a:extLst>
          </p:cNvPr>
          <p:cNvGraphicFramePr>
            <a:graphicFrameLocks noChangeAspect="1"/>
          </p:cNvGraphicFramePr>
          <p:nvPr userDrawn="1">
            <p:custDataLst>
              <p:tags r:id="rId5"/>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13" name="Object 12" hidden="1">
                        <a:extLst>
                          <a:ext uri="{FF2B5EF4-FFF2-40B4-BE49-F238E27FC236}">
                            <a16:creationId xmlns:a16="http://schemas.microsoft.com/office/drawing/2014/main" id="{121EFD7B-8C5E-4A74-3D68-8445CD5C11A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56608A7B-E1AD-066F-67F7-D0AA5C08A32A}"/>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Rectangle 14">
            <a:extLst>
              <a:ext uri="{FF2B5EF4-FFF2-40B4-BE49-F238E27FC236}">
                <a16:creationId xmlns:a16="http://schemas.microsoft.com/office/drawing/2014/main" id="{320D76F6-855C-77C9-C688-502073333638}"/>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5BFDEFDA-EF91-11E1-C53C-103D47935F20}"/>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080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9226000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705149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94AC7B56-5D88-9259-E8A6-44FBF512DAEB}"/>
              </a:ext>
            </a:extLst>
          </p:cNvPr>
          <p:cNvGraphicFramePr>
            <a:graphicFrameLocks noChangeAspect="1"/>
          </p:cNvGraphicFramePr>
          <p:nvPr>
            <p:custDataLst>
              <p:tags r:id="rId3"/>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6" progId="TCLayout.ActiveDocument.1">
                  <p:embed/>
                </p:oleObj>
              </mc:Choice>
              <mc:Fallback>
                <p:oleObj name="think-cell Slide" r:id="rId10" imgW="425" imgH="426" progId="TCLayout.ActiveDocument.1">
                  <p:embed/>
                  <p:pic>
                    <p:nvPicPr>
                      <p:cNvPr id="5" name="Object 4" hidden="1">
                        <a:extLst>
                          <a:ext uri="{FF2B5EF4-FFF2-40B4-BE49-F238E27FC236}">
                            <a16:creationId xmlns:a16="http://schemas.microsoft.com/office/drawing/2014/main" id="{94AC7B56-5D88-9259-E8A6-44FBF512DA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CFDD1D2-D607-693D-DF8A-2EC3F6D41E35}"/>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9762ABEF-ED18-E610-B1BC-53DA62A8D438}"/>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3EB81AA0-8E1B-FEB0-BE59-F1314857322C}"/>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90FDF15D-4206-8D33-68FB-CBA69C852E79}"/>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8" name="Object 17" hidden="1">
            <a:extLst>
              <a:ext uri="{FF2B5EF4-FFF2-40B4-BE49-F238E27FC236}">
                <a16:creationId xmlns:a16="http://schemas.microsoft.com/office/drawing/2014/main" id="{3DE8940D-E1CA-4BFA-1432-225D0622C3B8}"/>
              </a:ext>
            </a:extLst>
          </p:cNvPr>
          <p:cNvGraphicFramePr>
            <a:graphicFrameLocks noChangeAspect="1"/>
          </p:cNvGraphicFramePr>
          <p:nvPr userDrawn="1">
            <p:custDataLst>
              <p:tags r:id="rId5"/>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18" name="Object 17" hidden="1">
                        <a:extLst>
                          <a:ext uri="{FF2B5EF4-FFF2-40B4-BE49-F238E27FC236}">
                            <a16:creationId xmlns:a16="http://schemas.microsoft.com/office/drawing/2014/main" id="{3DE8940D-E1CA-4BFA-1432-225D0622C3B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0C919DFA-F088-5DF3-33A3-5E0CCF76EAE2}"/>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0" name="Rectangle 19">
            <a:extLst>
              <a:ext uri="{FF2B5EF4-FFF2-40B4-BE49-F238E27FC236}">
                <a16:creationId xmlns:a16="http://schemas.microsoft.com/office/drawing/2014/main" id="{B366C541-7F58-2FDB-96D7-D85ED6F59FEC}"/>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21" name="Straight Connector 20">
            <a:extLst>
              <a:ext uri="{FF2B5EF4-FFF2-40B4-BE49-F238E27FC236}">
                <a16:creationId xmlns:a16="http://schemas.microsoft.com/office/drawing/2014/main" id="{C1DF2179-0790-8C1C-E0D0-74F93A6A53C8}"/>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3F4E622-AD70-CB94-A8C0-729ED43634A9}"/>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382211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6921119"/>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811491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3CA0EC8A-C8E6-9F20-693F-D2E1B53DC53C}"/>
              </a:ext>
            </a:extLst>
          </p:cNvPr>
          <p:cNvGraphicFramePr>
            <a:graphicFrameLocks noChangeAspect="1"/>
          </p:cNvGraphicFramePr>
          <p:nvPr userDrawn="1">
            <p:custDataLst>
              <p:tags r:id="rId3"/>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3CA0EC8A-C8E6-9F20-693F-D2E1B53DC53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BF6371-1E6C-8E0F-4C1C-5F846E18CCC2}"/>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F60A416B-151C-B5D9-5DD5-127C4BFD444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946DFC5F-2A49-F963-50C6-8B99A47573E5}"/>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B296CDE-AAA1-CEE9-971D-F41E6AD8ECB2}"/>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29582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oleObject" Target="../embeddings/oleObject63.bin"/><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tags" Target="../tags/tag120.xml"/><Relationship Id="rId5" Type="http://schemas.openxmlformats.org/officeDocument/2006/relationships/slideLayout" Target="../slideLayouts/slideLayout72.xml"/><Relationship Id="rId10" Type="http://schemas.openxmlformats.org/officeDocument/2006/relationships/tags" Target="../tags/tag119.xml"/><Relationship Id="rId4" Type="http://schemas.openxmlformats.org/officeDocument/2006/relationships/slideLayout" Target="../slideLayouts/slideLayout71.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13" Type="http://schemas.openxmlformats.org/officeDocument/2006/relationships/tags" Target="../tags/tag127.xml"/><Relationship Id="rId18" Type="http://schemas.openxmlformats.org/officeDocument/2006/relationships/oleObject" Target="../embeddings/oleObject1.bin"/><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ags" Target="../tags/tag126.xml"/><Relationship Id="rId17" Type="http://schemas.openxmlformats.org/officeDocument/2006/relationships/oleObject" Target="../embeddings/oleObject66.bin"/><Relationship Id="rId2" Type="http://schemas.openxmlformats.org/officeDocument/2006/relationships/slideLayout" Target="../slideLayouts/slideLayout77.xml"/><Relationship Id="rId16" Type="http://schemas.openxmlformats.org/officeDocument/2006/relationships/image" Target="../media/image1.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125.xml"/><Relationship Id="rId5" Type="http://schemas.openxmlformats.org/officeDocument/2006/relationships/slideLayout" Target="../slideLayouts/slideLayout80.xml"/><Relationship Id="rId15" Type="http://schemas.openxmlformats.org/officeDocument/2006/relationships/oleObject" Target="../embeddings/oleObject65.bin"/><Relationship Id="rId10" Type="http://schemas.openxmlformats.org/officeDocument/2006/relationships/tags" Target="../tags/tag124.xml"/><Relationship Id="rId4" Type="http://schemas.openxmlformats.org/officeDocument/2006/relationships/slideLayout" Target="../slideLayouts/slideLayout79.xml"/><Relationship Id="rId9" Type="http://schemas.openxmlformats.org/officeDocument/2006/relationships/tags" Target="../tags/tag123.xml"/><Relationship Id="rId14" Type="http://schemas.openxmlformats.org/officeDocument/2006/relationships/tags" Target="../tags/tag12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6.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ags" Target="../tags/tag1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14.xml"/><Relationship Id="rId5" Type="http://schemas.openxmlformats.org/officeDocument/2006/relationships/slideLayout" Target="../slideLayouts/slideLayout9.xml"/><Relationship Id="rId15" Type="http://schemas.openxmlformats.org/officeDocument/2006/relationships/oleObject" Target="../embeddings/oleObject1.bin"/><Relationship Id="rId10" Type="http://schemas.openxmlformats.org/officeDocument/2006/relationships/tags" Target="../tags/tag13.xml"/><Relationship Id="rId4" Type="http://schemas.openxmlformats.org/officeDocument/2006/relationships/slideLayout" Target="../slideLayouts/slideLayout8.xml"/><Relationship Id="rId9" Type="http://schemas.openxmlformats.org/officeDocument/2006/relationships/tags" Target="../tags/tag1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7.xml"/><Relationship Id="rId5" Type="http://schemas.openxmlformats.org/officeDocument/2006/relationships/slideLayout" Target="../slideLayouts/slideLayout16.xml"/><Relationship Id="rId10" Type="http://schemas.openxmlformats.org/officeDocument/2006/relationships/tags" Target="../tags/tag36.xml"/><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oleObject" Target="../embeddings/oleObject23.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52.xml"/><Relationship Id="rId5" Type="http://schemas.openxmlformats.org/officeDocument/2006/relationships/slideLayout" Target="../slideLayouts/slideLayout24.xml"/><Relationship Id="rId10" Type="http://schemas.openxmlformats.org/officeDocument/2006/relationships/tags" Target="../tags/tag51.xml"/><Relationship Id="rId4" Type="http://schemas.openxmlformats.org/officeDocument/2006/relationships/slideLayout" Target="../slideLayouts/slideLayout2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oleObject" Target="../embeddings/oleObject32.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ags" Target="../tags/tag67.xml"/><Relationship Id="rId5" Type="http://schemas.openxmlformats.org/officeDocument/2006/relationships/slideLayout" Target="../slideLayouts/slideLayout32.xml"/><Relationship Id="rId10" Type="http://schemas.openxmlformats.org/officeDocument/2006/relationships/tags" Target="../tags/tag66.xml"/><Relationship Id="rId4" Type="http://schemas.openxmlformats.org/officeDocument/2006/relationships/slideLayout" Target="../slideLayouts/slideLayout3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oleObject" Target="../embeddings/oleObject41.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ags" Target="../tags/tag82.xml"/><Relationship Id="rId5" Type="http://schemas.openxmlformats.org/officeDocument/2006/relationships/slideLayout" Target="../slideLayouts/slideLayout40.xml"/><Relationship Id="rId10" Type="http://schemas.openxmlformats.org/officeDocument/2006/relationships/tags" Target="../tags/tag81.xml"/><Relationship Id="rId4" Type="http://schemas.openxmlformats.org/officeDocument/2006/relationships/slideLayout" Target="../slideLayouts/slideLayout3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1.emf"/><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oleObject" Target="../embeddings/oleObject50.bin"/><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ags" Target="../tags/tag97.xml"/><Relationship Id="rId5" Type="http://schemas.openxmlformats.org/officeDocument/2006/relationships/slideLayout" Target="../slideLayouts/slideLayout48.xml"/><Relationship Id="rId10" Type="http://schemas.openxmlformats.org/officeDocument/2006/relationships/tags" Target="../tags/tag96.xml"/><Relationship Id="rId4" Type="http://schemas.openxmlformats.org/officeDocument/2006/relationships/slideLayout" Target="../slideLayouts/slideLayout47.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emf"/><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oleObject" Target="../embeddings/oleObject59.bin"/><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112.xml"/><Relationship Id="rId5" Type="http://schemas.openxmlformats.org/officeDocument/2006/relationships/slideLayout" Target="../slideLayouts/slideLayout56.xml"/><Relationship Id="rId10" Type="http://schemas.openxmlformats.org/officeDocument/2006/relationships/tags" Target="../tags/tag111.xml"/><Relationship Id="rId4" Type="http://schemas.openxmlformats.org/officeDocument/2006/relationships/slideLayout" Target="../slideLayouts/slideLayout5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oleObject" Target="../embeddings/oleObject61.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16.xml"/><Relationship Id="rId5" Type="http://schemas.openxmlformats.org/officeDocument/2006/relationships/slideLayout" Target="../slideLayouts/slideLayout64.xml"/><Relationship Id="rId10" Type="http://schemas.openxmlformats.org/officeDocument/2006/relationships/tags" Target="../tags/tag115.xml"/><Relationship Id="rId4" Type="http://schemas.openxmlformats.org/officeDocument/2006/relationships/slideLayout" Target="../slideLayouts/slideLayout63.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55584951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ECDF45FE-35B3-2ACA-750A-280401E6052D}"/>
              </a:ext>
            </a:extLst>
          </p:cNvPr>
          <p:cNvGraphicFramePr>
            <a:graphicFrameLocks noChangeAspect="1"/>
          </p:cNvGraphicFramePr>
          <p:nvPr>
            <p:custDataLst>
              <p:tags r:id="rId11"/>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4" imgH="344" progId="TCLayout.ActiveDocument.1">
                  <p:embed/>
                </p:oleObj>
              </mc:Choice>
              <mc:Fallback>
                <p:oleObj name="think-cell Slide" r:id="rId17" imgW="344" imgH="344" progId="TCLayout.ActiveDocument.1">
                  <p:embed/>
                  <p:pic>
                    <p:nvPicPr>
                      <p:cNvPr id="4" name="Object 3" hidden="1">
                        <a:extLst>
                          <a:ext uri="{FF2B5EF4-FFF2-40B4-BE49-F238E27FC236}">
                            <a16:creationId xmlns:a16="http://schemas.microsoft.com/office/drawing/2014/main" id="{ECDF45FE-35B3-2ACA-750A-280401E6052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88F295C-9C57-0356-119D-1F2D6E610CA1}"/>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A19245F7-4C1E-B61C-D250-B442AF1B938E}"/>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F539B315-B1B0-698E-0C25-26A9FA8B84B9}"/>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graphicFrame>
        <p:nvGraphicFramePr>
          <p:cNvPr id="13" name="Object 12" hidden="1">
            <a:extLst>
              <a:ext uri="{FF2B5EF4-FFF2-40B4-BE49-F238E27FC236}">
                <a16:creationId xmlns:a16="http://schemas.microsoft.com/office/drawing/2014/main" id="{31CD8684-8439-8F14-EC53-72ABD7EC7143}"/>
              </a:ext>
            </a:extLst>
          </p:cNvPr>
          <p:cNvGraphicFramePr>
            <a:graphicFrameLocks noChangeAspect="1"/>
          </p:cNvGraphicFramePr>
          <p:nvPr userDrawn="1">
            <p:custDataLst>
              <p:tags r:id="rId13"/>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44" imgH="344" progId="TCLayout.ActiveDocument.1">
                  <p:embed/>
                </p:oleObj>
              </mc:Choice>
              <mc:Fallback>
                <p:oleObj name="think-cell Slide" r:id="rId18" imgW="344" imgH="344" progId="TCLayout.ActiveDocument.1">
                  <p:embed/>
                  <p:pic>
                    <p:nvPicPr>
                      <p:cNvPr id="13" name="Object 12" hidden="1">
                        <a:extLst>
                          <a:ext uri="{FF2B5EF4-FFF2-40B4-BE49-F238E27FC236}">
                            <a16:creationId xmlns:a16="http://schemas.microsoft.com/office/drawing/2014/main" id="{31CD8684-8439-8F14-EC53-72ABD7EC714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987C094B-BD20-7C7C-0220-96686458382A}"/>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Rectangle 14">
            <a:extLst>
              <a:ext uri="{FF2B5EF4-FFF2-40B4-BE49-F238E27FC236}">
                <a16:creationId xmlns:a16="http://schemas.microsoft.com/office/drawing/2014/main" id="{34B8B962-7409-80DA-3044-C23929DA3589}"/>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EBD54109-3C91-D5F5-8D85-CA75C06C7FA9}"/>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230582"/>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CC8B6842-66B3-146C-F328-310CD2E88E74}"/>
              </a:ext>
            </a:extLst>
          </p:cNvPr>
          <p:cNvGraphicFramePr>
            <a:graphicFrameLocks noChangeAspect="1"/>
          </p:cNvGraphicFramePr>
          <p:nvPr userDrawn="1">
            <p:custDataLst>
              <p:tags r:id="rId11"/>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CC8B6842-66B3-146C-F328-310CD2E88E7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AFC31C66-5E76-B623-9324-75650A3BE6CE}"/>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E38AB284-61E7-EC52-C35C-D68A0530C8BA}"/>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13CAB3A6-C277-3DD7-2585-02C2212386BF}"/>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1041214"/>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40642053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01999375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93543649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35331671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5779902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43932084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825900512"/>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notesSlide" Target="../notesSlides/notesSlide1.xml"/><Relationship Id="rId18" Type="http://schemas.openxmlformats.org/officeDocument/2006/relationships/image" Target="../media/image4.jpeg"/><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slideLayout" Target="../slideLayouts/slideLayout78.xml"/><Relationship Id="rId17" Type="http://schemas.openxmlformats.org/officeDocument/2006/relationships/image" Target="../media/image3.png"/><Relationship Id="rId2" Type="http://schemas.openxmlformats.org/officeDocument/2006/relationships/tags" Target="../tags/tag157.xml"/><Relationship Id="rId16" Type="http://schemas.openxmlformats.org/officeDocument/2006/relationships/hyperlink" Target="https://www.domontconsulting.com/" TargetMode="External"/><Relationship Id="rId1" Type="http://schemas.openxmlformats.org/officeDocument/2006/relationships/themeOverride" Target="../theme/themeOverride1.xml"/><Relationship Id="rId6" Type="http://schemas.openxmlformats.org/officeDocument/2006/relationships/tags" Target="../tags/tag161.xml"/><Relationship Id="rId11" Type="http://schemas.openxmlformats.org/officeDocument/2006/relationships/tags" Target="../tags/tag166.xml"/><Relationship Id="rId5" Type="http://schemas.openxmlformats.org/officeDocument/2006/relationships/tags" Target="../tags/tag160.xml"/><Relationship Id="rId15" Type="http://schemas.openxmlformats.org/officeDocument/2006/relationships/image" Target="../media/image1.emf"/><Relationship Id="rId10" Type="http://schemas.openxmlformats.org/officeDocument/2006/relationships/tags" Target="../tags/tag165.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oleObject" Target="../embeddings/oleObject78.bin"/></Relationships>
</file>

<file path=ppt/slides/_rels/slide10.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oleObject" Target="../embeddings/oleObject78.bin"/><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notesSlide" Target="../notesSlides/notesSlide10.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slideLayout" Target="../slideLayouts/slideLayout7.xml"/><Relationship Id="rId5" Type="http://schemas.openxmlformats.org/officeDocument/2006/relationships/tags" Target="../tags/tag215.xml"/><Relationship Id="rId10" Type="http://schemas.openxmlformats.org/officeDocument/2006/relationships/tags" Target="../tags/tag220.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13" Type="http://schemas.openxmlformats.org/officeDocument/2006/relationships/image" Target="../media/image9.png"/><Relationship Id="rId18" Type="http://schemas.openxmlformats.org/officeDocument/2006/relationships/image" Target="../media/image14.svg"/><Relationship Id="rId26" Type="http://schemas.openxmlformats.org/officeDocument/2006/relationships/image" Target="../media/image22.svg"/><Relationship Id="rId39" Type="http://schemas.openxmlformats.org/officeDocument/2006/relationships/image" Target="../media/image35.png"/><Relationship Id="rId21" Type="http://schemas.openxmlformats.org/officeDocument/2006/relationships/image" Target="../media/image17.png"/><Relationship Id="rId34" Type="http://schemas.openxmlformats.org/officeDocument/2006/relationships/image" Target="../media/image30.svg"/><Relationship Id="rId42" Type="http://schemas.openxmlformats.org/officeDocument/2006/relationships/image" Target="../media/image38.svg"/><Relationship Id="rId7" Type="http://schemas.openxmlformats.org/officeDocument/2006/relationships/image" Target="../media/image2.emf"/><Relationship Id="rId2" Type="http://schemas.openxmlformats.org/officeDocument/2006/relationships/tags" Target="../tags/tag222.xml"/><Relationship Id="rId16" Type="http://schemas.openxmlformats.org/officeDocument/2006/relationships/image" Target="../media/image12.svg"/><Relationship Id="rId20" Type="http://schemas.openxmlformats.org/officeDocument/2006/relationships/image" Target="../media/image16.svg"/><Relationship Id="rId29" Type="http://schemas.openxmlformats.org/officeDocument/2006/relationships/image" Target="../media/image25.png"/><Relationship Id="rId41" Type="http://schemas.openxmlformats.org/officeDocument/2006/relationships/image" Target="../media/image37.png"/><Relationship Id="rId1" Type="http://schemas.openxmlformats.org/officeDocument/2006/relationships/tags" Target="../tags/tag221.xml"/><Relationship Id="rId6" Type="http://schemas.openxmlformats.org/officeDocument/2006/relationships/oleObject" Target="../embeddings/oleObject84.bin"/><Relationship Id="rId11" Type="http://schemas.openxmlformats.org/officeDocument/2006/relationships/image" Target="../media/image7.png"/><Relationship Id="rId24" Type="http://schemas.openxmlformats.org/officeDocument/2006/relationships/image" Target="../media/image20.svg"/><Relationship Id="rId32" Type="http://schemas.openxmlformats.org/officeDocument/2006/relationships/image" Target="../media/image28.svg"/><Relationship Id="rId37" Type="http://schemas.openxmlformats.org/officeDocument/2006/relationships/image" Target="../media/image33.png"/><Relationship Id="rId40" Type="http://schemas.openxmlformats.org/officeDocument/2006/relationships/image" Target="../media/image36.svg"/><Relationship Id="rId5" Type="http://schemas.openxmlformats.org/officeDocument/2006/relationships/notesSlide" Target="../notesSlides/notesSlide11.xml"/><Relationship Id="rId15" Type="http://schemas.openxmlformats.org/officeDocument/2006/relationships/image" Target="../media/image11.png"/><Relationship Id="rId23" Type="http://schemas.openxmlformats.org/officeDocument/2006/relationships/image" Target="../media/image19.png"/><Relationship Id="rId28" Type="http://schemas.openxmlformats.org/officeDocument/2006/relationships/image" Target="../media/image24.svg"/><Relationship Id="rId36" Type="http://schemas.openxmlformats.org/officeDocument/2006/relationships/image" Target="../media/image32.svg"/><Relationship Id="rId10" Type="http://schemas.openxmlformats.org/officeDocument/2006/relationships/image" Target="../media/image6.svg"/><Relationship Id="rId19" Type="http://schemas.openxmlformats.org/officeDocument/2006/relationships/image" Target="../media/image15.png"/><Relationship Id="rId31" Type="http://schemas.openxmlformats.org/officeDocument/2006/relationships/image" Target="../media/image27.png"/><Relationship Id="rId44" Type="http://schemas.openxmlformats.org/officeDocument/2006/relationships/image" Target="../media/image40.svg"/><Relationship Id="rId4" Type="http://schemas.openxmlformats.org/officeDocument/2006/relationships/slideLayout" Target="../slideLayouts/slideLayout7.xml"/><Relationship Id="rId9" Type="http://schemas.openxmlformats.org/officeDocument/2006/relationships/image" Target="../media/image5.png"/><Relationship Id="rId14" Type="http://schemas.openxmlformats.org/officeDocument/2006/relationships/image" Target="../media/image10.svg"/><Relationship Id="rId22" Type="http://schemas.openxmlformats.org/officeDocument/2006/relationships/image" Target="../media/image18.svg"/><Relationship Id="rId27" Type="http://schemas.openxmlformats.org/officeDocument/2006/relationships/image" Target="../media/image23.png"/><Relationship Id="rId30" Type="http://schemas.openxmlformats.org/officeDocument/2006/relationships/image" Target="../media/image26.svg"/><Relationship Id="rId35" Type="http://schemas.openxmlformats.org/officeDocument/2006/relationships/image" Target="../media/image31.png"/><Relationship Id="rId43" Type="http://schemas.openxmlformats.org/officeDocument/2006/relationships/image" Target="../media/image39.png"/><Relationship Id="rId8" Type="http://schemas.openxmlformats.org/officeDocument/2006/relationships/hyperlink" Target="http://www.domontconsulting.com/" TargetMode="External"/><Relationship Id="rId3" Type="http://schemas.openxmlformats.org/officeDocument/2006/relationships/tags" Target="../tags/tag223.xml"/><Relationship Id="rId12" Type="http://schemas.openxmlformats.org/officeDocument/2006/relationships/image" Target="../media/image8.svg"/><Relationship Id="rId17" Type="http://schemas.openxmlformats.org/officeDocument/2006/relationships/image" Target="../media/image13.png"/><Relationship Id="rId25" Type="http://schemas.openxmlformats.org/officeDocument/2006/relationships/image" Target="../media/image21.png"/><Relationship Id="rId33" Type="http://schemas.openxmlformats.org/officeDocument/2006/relationships/image" Target="../media/image29.png"/><Relationship Id="rId38" Type="http://schemas.openxmlformats.org/officeDocument/2006/relationships/image" Target="../media/image34.svg"/></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7.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notesSlide" Target="../notesSlides/notesSlide12.xml"/><Relationship Id="rId9" Type="http://schemas.openxmlformats.org/officeDocument/2006/relationships/hyperlink" Target="https://www.domontconsulting.com/pages/full-access"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hyperlink" Target="https://www.domontconsulting.com/" TargetMode="Externa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notesSlide" Target="../notesSlides/notesSlide13.xml"/><Relationship Id="rId9" Type="http://schemas.openxmlformats.org/officeDocument/2006/relationships/hyperlink" Target="http://www.domontconsulting.com/"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4.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oleObject" Target="../embeddings/oleObject78.bin"/><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notesSlide" Target="../notesSlides/notesSlide4.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slideLayout" Target="../slideLayouts/slideLayout7.xml"/><Relationship Id="rId5" Type="http://schemas.openxmlformats.org/officeDocument/2006/relationships/tags" Target="../tags/tag173.xml"/><Relationship Id="rId10" Type="http://schemas.openxmlformats.org/officeDocument/2006/relationships/tags" Target="../tags/tag178.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7.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oleObject" Target="../embeddings/oleObject82.bin"/><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notesSlide" Target="../notesSlides/notesSlide7.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slideLayout" Target="../slideLayouts/slideLayout7.xml"/><Relationship Id="rId5" Type="http://schemas.openxmlformats.org/officeDocument/2006/relationships/tags" Target="../tags/tag185.xml"/><Relationship Id="rId10" Type="http://schemas.openxmlformats.org/officeDocument/2006/relationships/tags" Target="../tags/tag190.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oleObject" Target="../embeddings/oleObject83.bin"/><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notesSlide" Target="../notesSlides/notesSlide8.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slideLayout" Target="../slideLayouts/slideLayout7.xml"/><Relationship Id="rId5" Type="http://schemas.openxmlformats.org/officeDocument/2006/relationships/tags" Target="../tags/tag195.xml"/><Relationship Id="rId10" Type="http://schemas.openxmlformats.org/officeDocument/2006/relationships/tags" Target="../tags/tag200.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oleObject" Target="../embeddings/oleObject78.bin"/><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notesSlide" Target="../notesSlides/notesSlide9.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slideLayout" Target="../slideLayouts/slideLayout7.xml"/><Relationship Id="rId5" Type="http://schemas.openxmlformats.org/officeDocument/2006/relationships/tags" Target="../tags/tag205.xml"/><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1165225"/>
            <a:r>
              <a:rPr lang="en-GB" sz="2400" kern="0" dirty="0"/>
              <a:t>Initiative Prioritization Matrix</a:t>
            </a:r>
            <a:br>
              <a:rPr lang="en-GB" sz="2400" kern="0" dirty="0"/>
            </a:br>
            <a:r>
              <a:rPr lang="en-GB" b="0" kern="0" dirty="0"/>
              <a:t>Tutorial &amp; Template</a:t>
            </a:r>
            <a:endParaRPr lang="en-GB" sz="2400" b="0" kern="0" dirty="0"/>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3"/>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4"/>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5"/>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6"/>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7"/>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8"/>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Actively work to ease the implementation)</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2 Projects</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endParaRPr lang="en-US" sz="1400" b="1"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1 Projects</a:t>
            </a: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2 Projects</a:t>
            </a: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9"/>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10"/>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1"/>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pic>
        <p:nvPicPr>
          <p:cNvPr id="2" name="Picture 1">
            <a:hlinkClick r:id="rId16"/>
            <a:extLst>
              <a:ext uri="{FF2B5EF4-FFF2-40B4-BE49-F238E27FC236}">
                <a16:creationId xmlns:a16="http://schemas.microsoft.com/office/drawing/2014/main" id="{29780F9A-A116-356F-BBEE-7685FD0685AB}"/>
              </a:ext>
            </a:extLst>
          </p:cNvPr>
          <p:cNvPicPr>
            <a:picLocks noChangeAspect="1"/>
          </p:cNvPicPr>
          <p:nvPr/>
        </p:nvPicPr>
        <p:blipFill>
          <a:blip r:embed="rId17"/>
          <a:stretch>
            <a:fillRect/>
          </a:stretch>
        </p:blipFill>
        <p:spPr>
          <a:xfrm>
            <a:off x="7937621" y="434516"/>
            <a:ext cx="3740265" cy="879701"/>
          </a:xfrm>
          <a:prstGeom prst="rect">
            <a:avLst/>
          </a:prstGeom>
        </p:spPr>
      </p:pic>
      <p:grpSp>
        <p:nvGrpSpPr>
          <p:cNvPr id="3" name="Group 2">
            <a:extLst>
              <a:ext uri="{FF2B5EF4-FFF2-40B4-BE49-F238E27FC236}">
                <a16:creationId xmlns:a16="http://schemas.microsoft.com/office/drawing/2014/main" id="{FD51CB25-75F5-656F-25DC-502FEC9A6FD4}"/>
              </a:ext>
            </a:extLst>
          </p:cNvPr>
          <p:cNvGrpSpPr/>
          <p:nvPr/>
        </p:nvGrpSpPr>
        <p:grpSpPr>
          <a:xfrm>
            <a:off x="553545" y="324188"/>
            <a:ext cx="1110877" cy="1105896"/>
            <a:chOff x="9671172" y="5968374"/>
            <a:chExt cx="9645918" cy="9602674"/>
          </a:xfrm>
        </p:grpSpPr>
        <p:sp>
          <p:nvSpPr>
            <p:cNvPr id="10" name="Freeform: Shape 9">
              <a:extLst>
                <a:ext uri="{FF2B5EF4-FFF2-40B4-BE49-F238E27FC236}">
                  <a16:creationId xmlns:a16="http://schemas.microsoft.com/office/drawing/2014/main" id="{D2B71DD1-A6F8-B9B5-86AE-35512A6E60A5}"/>
                </a:ext>
              </a:extLst>
            </p:cNvPr>
            <p:cNvSpPr/>
            <p:nvPr/>
          </p:nvSpPr>
          <p:spPr>
            <a:xfrm>
              <a:off x="9714420" y="5968374"/>
              <a:ext cx="9559421" cy="4801077"/>
            </a:xfrm>
            <a:custGeom>
              <a:avLst/>
              <a:gdLst>
                <a:gd name="connsiteX0" fmla="*/ 4924567 w 9559421"/>
                <a:gd name="connsiteY0" fmla="*/ 8337 h 4801077"/>
                <a:gd name="connsiteX1" fmla="*/ 4915188 w 9559421"/>
                <a:gd name="connsiteY1" fmla="*/ 2605 h 4801077"/>
                <a:gd name="connsiteX2" fmla="*/ 4916751 w 9559421"/>
                <a:gd name="connsiteY2" fmla="*/ 1563 h 4801077"/>
                <a:gd name="connsiteX3" fmla="*/ 4909456 w 9559421"/>
                <a:gd name="connsiteY3" fmla="*/ 1042 h 4801077"/>
                <a:gd name="connsiteX4" fmla="*/ 4887571 w 9559421"/>
                <a:gd name="connsiteY4" fmla="*/ 22406 h 4801077"/>
                <a:gd name="connsiteX5" fmla="*/ 4908414 w 9559421"/>
                <a:gd name="connsiteY5" fmla="*/ 44811 h 4801077"/>
                <a:gd name="connsiteX6" fmla="*/ 4909456 w 9559421"/>
                <a:gd name="connsiteY6" fmla="*/ 44811 h 4801077"/>
                <a:gd name="connsiteX7" fmla="*/ 4931341 w 9559421"/>
                <a:gd name="connsiteY7" fmla="*/ 23448 h 4801077"/>
                <a:gd name="connsiteX8" fmla="*/ 4924567 w 9559421"/>
                <a:gd name="connsiteY8" fmla="*/ 8337 h 4801077"/>
                <a:gd name="connsiteX9" fmla="*/ 4778148 w 9559421"/>
                <a:gd name="connsiteY9" fmla="*/ 0 h 4801077"/>
                <a:gd name="connsiteX10" fmla="*/ 4646319 w 9559421"/>
                <a:gd name="connsiteY10" fmla="*/ 1563 h 4801077"/>
                <a:gd name="connsiteX11" fmla="*/ 4515012 w 9559421"/>
                <a:gd name="connsiteY11" fmla="*/ 6774 h 4801077"/>
                <a:gd name="connsiteX12" fmla="*/ 4499901 w 9559421"/>
                <a:gd name="connsiteY12" fmla="*/ 14069 h 4801077"/>
                <a:gd name="connsiteX13" fmla="*/ 4494690 w 9559421"/>
                <a:gd name="connsiteY13" fmla="*/ 29701 h 4801077"/>
                <a:gd name="connsiteX14" fmla="*/ 4516054 w 9559421"/>
                <a:gd name="connsiteY14" fmla="*/ 50022 h 4801077"/>
                <a:gd name="connsiteX15" fmla="*/ 4517617 w 9559421"/>
                <a:gd name="connsiteY15" fmla="*/ 50022 h 4801077"/>
                <a:gd name="connsiteX16" fmla="*/ 4647882 w 9559421"/>
                <a:gd name="connsiteY16" fmla="*/ 44811 h 4801077"/>
                <a:gd name="connsiteX17" fmla="*/ 4778148 w 9559421"/>
                <a:gd name="connsiteY17" fmla="*/ 43248 h 4801077"/>
                <a:gd name="connsiteX18" fmla="*/ 4800033 w 9559421"/>
                <a:gd name="connsiteY18" fmla="*/ 21364 h 4801077"/>
                <a:gd name="connsiteX19" fmla="*/ 4778148 w 9559421"/>
                <a:gd name="connsiteY19" fmla="*/ 0 h 4801077"/>
                <a:gd name="connsiteX20" fmla="*/ 4383703 w 9559421"/>
                <a:gd name="connsiteY20" fmla="*/ 16153 h 4801077"/>
                <a:gd name="connsiteX21" fmla="*/ 4379535 w 9559421"/>
                <a:gd name="connsiteY21" fmla="*/ 16674 h 4801077"/>
                <a:gd name="connsiteX22" fmla="*/ 4368593 w 9559421"/>
                <a:gd name="connsiteY22" fmla="*/ 23448 h 4801077"/>
                <a:gd name="connsiteX23" fmla="*/ 4363382 w 9559421"/>
                <a:gd name="connsiteY23" fmla="*/ 39601 h 4801077"/>
                <a:gd name="connsiteX24" fmla="*/ 4385788 w 9559421"/>
                <a:gd name="connsiteY24" fmla="*/ 59401 h 4801077"/>
                <a:gd name="connsiteX25" fmla="*/ 4387351 w 9559421"/>
                <a:gd name="connsiteY25" fmla="*/ 59401 h 4801077"/>
                <a:gd name="connsiteX26" fmla="*/ 4407152 w 9559421"/>
                <a:gd name="connsiteY26" fmla="*/ 35953 h 4801077"/>
                <a:gd name="connsiteX27" fmla="*/ 4383703 w 9559421"/>
                <a:gd name="connsiteY27" fmla="*/ 16153 h 4801077"/>
                <a:gd name="connsiteX28" fmla="*/ 5303380 w 9559421"/>
                <a:gd name="connsiteY28" fmla="*/ 28137 h 4801077"/>
                <a:gd name="connsiteX29" fmla="*/ 5172593 w 9559421"/>
                <a:gd name="connsiteY29" fmla="*/ 15632 h 4801077"/>
                <a:gd name="connsiteX30" fmla="*/ 5113713 w 9559421"/>
                <a:gd name="connsiteY30" fmla="*/ 11463 h 4801077"/>
                <a:gd name="connsiteX31" fmla="*/ 5041285 w 9559421"/>
                <a:gd name="connsiteY31" fmla="*/ 7295 h 4801077"/>
                <a:gd name="connsiteX32" fmla="*/ 5018358 w 9559421"/>
                <a:gd name="connsiteY32" fmla="*/ 27616 h 4801077"/>
                <a:gd name="connsiteX33" fmla="*/ 5024090 w 9559421"/>
                <a:gd name="connsiteY33" fmla="*/ 43248 h 4801077"/>
                <a:gd name="connsiteX34" fmla="*/ 5038680 w 9559421"/>
                <a:gd name="connsiteY34" fmla="*/ 50022 h 4801077"/>
                <a:gd name="connsiteX35" fmla="*/ 5168945 w 9559421"/>
                <a:gd name="connsiteY35" fmla="*/ 59401 h 4801077"/>
                <a:gd name="connsiteX36" fmla="*/ 5199167 w 9559421"/>
                <a:gd name="connsiteY36" fmla="*/ 62007 h 4801077"/>
                <a:gd name="connsiteX37" fmla="*/ 5298169 w 9559421"/>
                <a:gd name="connsiteY37" fmla="*/ 71386 h 4801077"/>
                <a:gd name="connsiteX38" fmla="*/ 5300774 w 9559421"/>
                <a:gd name="connsiteY38" fmla="*/ 71907 h 4801077"/>
                <a:gd name="connsiteX39" fmla="*/ 5322138 w 9559421"/>
                <a:gd name="connsiteY39" fmla="*/ 52106 h 4801077"/>
                <a:gd name="connsiteX40" fmla="*/ 5303380 w 9559421"/>
                <a:gd name="connsiteY40" fmla="*/ 28137 h 4801077"/>
                <a:gd name="connsiteX41" fmla="*/ 5448756 w 9559421"/>
                <a:gd name="connsiteY41" fmla="*/ 52627 h 4801077"/>
                <a:gd name="connsiteX42" fmla="*/ 5434167 w 9559421"/>
                <a:gd name="connsiteY42" fmla="*/ 44290 h 4801077"/>
                <a:gd name="connsiteX43" fmla="*/ 5409156 w 9559421"/>
                <a:gd name="connsiteY43" fmla="*/ 63049 h 4801077"/>
                <a:gd name="connsiteX44" fmla="*/ 5427914 w 9559421"/>
                <a:gd name="connsiteY44" fmla="*/ 87539 h 4801077"/>
                <a:gd name="connsiteX45" fmla="*/ 5431040 w 9559421"/>
                <a:gd name="connsiteY45" fmla="*/ 87539 h 4801077"/>
                <a:gd name="connsiteX46" fmla="*/ 5452404 w 9559421"/>
                <a:gd name="connsiteY46" fmla="*/ 68780 h 4801077"/>
                <a:gd name="connsiteX47" fmla="*/ 5448756 w 9559421"/>
                <a:gd name="connsiteY47" fmla="*/ 52627 h 4801077"/>
                <a:gd name="connsiteX48" fmla="*/ 4251875 w 9559421"/>
                <a:gd name="connsiteY48" fmla="*/ 28658 h 4801077"/>
                <a:gd name="connsiteX49" fmla="*/ 4121609 w 9559421"/>
                <a:gd name="connsiteY49" fmla="*/ 44811 h 4801077"/>
                <a:gd name="connsiteX50" fmla="*/ 3991343 w 9559421"/>
                <a:gd name="connsiteY50" fmla="*/ 64612 h 4801077"/>
                <a:gd name="connsiteX51" fmla="*/ 3976753 w 9559421"/>
                <a:gd name="connsiteY51" fmla="*/ 73991 h 4801077"/>
                <a:gd name="connsiteX52" fmla="*/ 3973106 w 9559421"/>
                <a:gd name="connsiteY52" fmla="*/ 90144 h 4801077"/>
                <a:gd name="connsiteX53" fmla="*/ 3994469 w 9559421"/>
                <a:gd name="connsiteY53" fmla="*/ 108381 h 4801077"/>
                <a:gd name="connsiteX54" fmla="*/ 3998117 w 9559421"/>
                <a:gd name="connsiteY54" fmla="*/ 107860 h 4801077"/>
                <a:gd name="connsiteX55" fmla="*/ 4127340 w 9559421"/>
                <a:gd name="connsiteY55" fmla="*/ 88060 h 4801077"/>
                <a:gd name="connsiteX56" fmla="*/ 4256564 w 9559421"/>
                <a:gd name="connsiteY56" fmla="*/ 71907 h 4801077"/>
                <a:gd name="connsiteX57" fmla="*/ 4271154 w 9559421"/>
                <a:gd name="connsiteY57" fmla="*/ 64091 h 4801077"/>
                <a:gd name="connsiteX58" fmla="*/ 4275322 w 9559421"/>
                <a:gd name="connsiteY58" fmla="*/ 47938 h 4801077"/>
                <a:gd name="connsiteX59" fmla="*/ 4251875 w 9559421"/>
                <a:gd name="connsiteY59" fmla="*/ 28658 h 4801077"/>
                <a:gd name="connsiteX60" fmla="*/ 3887130 w 9559421"/>
                <a:gd name="connsiteY60" fmla="*/ 105255 h 4801077"/>
                <a:gd name="connsiteX61" fmla="*/ 3862119 w 9559421"/>
                <a:gd name="connsiteY61" fmla="*/ 88060 h 4801077"/>
                <a:gd name="connsiteX62" fmla="*/ 3848051 w 9559421"/>
                <a:gd name="connsiteY62" fmla="*/ 97439 h 4801077"/>
                <a:gd name="connsiteX63" fmla="*/ 3844403 w 9559421"/>
                <a:gd name="connsiteY63" fmla="*/ 114113 h 4801077"/>
                <a:gd name="connsiteX64" fmla="*/ 3865767 w 9559421"/>
                <a:gd name="connsiteY64" fmla="*/ 131308 h 4801077"/>
                <a:gd name="connsiteX65" fmla="*/ 3869935 w 9559421"/>
                <a:gd name="connsiteY65" fmla="*/ 130787 h 4801077"/>
                <a:gd name="connsiteX66" fmla="*/ 3884004 w 9559421"/>
                <a:gd name="connsiteY66" fmla="*/ 121408 h 4801077"/>
                <a:gd name="connsiteX67" fmla="*/ 3887130 w 9559421"/>
                <a:gd name="connsiteY67" fmla="*/ 105255 h 4801077"/>
                <a:gd name="connsiteX68" fmla="*/ 5822880 w 9559421"/>
                <a:gd name="connsiteY68" fmla="*/ 114113 h 4801077"/>
                <a:gd name="connsiteX69" fmla="*/ 5695219 w 9559421"/>
                <a:gd name="connsiteY69" fmla="*/ 87539 h 4801077"/>
                <a:gd name="connsiteX70" fmla="*/ 5694698 w 9559421"/>
                <a:gd name="connsiteY70" fmla="*/ 89623 h 4801077"/>
                <a:gd name="connsiteX71" fmla="*/ 5694177 w 9559421"/>
                <a:gd name="connsiteY71" fmla="*/ 87539 h 4801077"/>
                <a:gd name="connsiteX72" fmla="*/ 5564432 w 9559421"/>
                <a:gd name="connsiteY72" fmla="*/ 64091 h 4801077"/>
                <a:gd name="connsiteX73" fmla="*/ 5539421 w 9559421"/>
                <a:gd name="connsiteY73" fmla="*/ 81807 h 4801077"/>
                <a:gd name="connsiteX74" fmla="*/ 5543069 w 9559421"/>
                <a:gd name="connsiteY74" fmla="*/ 97960 h 4801077"/>
                <a:gd name="connsiteX75" fmla="*/ 5557658 w 9559421"/>
                <a:gd name="connsiteY75" fmla="*/ 107339 h 4801077"/>
                <a:gd name="connsiteX76" fmla="*/ 5685840 w 9559421"/>
                <a:gd name="connsiteY76" fmla="*/ 130266 h 4801077"/>
                <a:gd name="connsiteX77" fmla="*/ 5813501 w 9559421"/>
                <a:gd name="connsiteY77" fmla="*/ 156840 h 4801077"/>
                <a:gd name="connsiteX78" fmla="*/ 5817669 w 9559421"/>
                <a:gd name="connsiteY78" fmla="*/ 157361 h 4801077"/>
                <a:gd name="connsiteX79" fmla="*/ 5839032 w 9559421"/>
                <a:gd name="connsiteY79" fmla="*/ 140166 h 4801077"/>
                <a:gd name="connsiteX80" fmla="*/ 5822880 w 9559421"/>
                <a:gd name="connsiteY80" fmla="*/ 114113 h 4801077"/>
                <a:gd name="connsiteX81" fmla="*/ 5951582 w 9559421"/>
                <a:gd name="connsiteY81" fmla="*/ 144335 h 4801077"/>
                <a:gd name="connsiteX82" fmla="*/ 5950019 w 9559421"/>
                <a:gd name="connsiteY82" fmla="*/ 143813 h 4801077"/>
                <a:gd name="connsiteX83" fmla="*/ 5925008 w 9559421"/>
                <a:gd name="connsiteY83" fmla="*/ 159966 h 4801077"/>
                <a:gd name="connsiteX84" fmla="*/ 5927613 w 9559421"/>
                <a:gd name="connsiteY84" fmla="*/ 176640 h 4801077"/>
                <a:gd name="connsiteX85" fmla="*/ 5932303 w 9559421"/>
                <a:gd name="connsiteY85" fmla="*/ 182372 h 4801077"/>
                <a:gd name="connsiteX86" fmla="*/ 5923445 w 9559421"/>
                <a:gd name="connsiteY86" fmla="*/ 182372 h 4801077"/>
                <a:gd name="connsiteX87" fmla="*/ 5940640 w 9559421"/>
                <a:gd name="connsiteY87" fmla="*/ 186541 h 4801077"/>
                <a:gd name="connsiteX88" fmla="*/ 5945851 w 9559421"/>
                <a:gd name="connsiteY88" fmla="*/ 187062 h 4801077"/>
                <a:gd name="connsiteX89" fmla="*/ 5967214 w 9559421"/>
                <a:gd name="connsiteY89" fmla="*/ 170909 h 4801077"/>
                <a:gd name="connsiteX90" fmla="*/ 5951582 w 9559421"/>
                <a:gd name="connsiteY90" fmla="*/ 144335 h 4801077"/>
                <a:gd name="connsiteX91" fmla="*/ 3758949 w 9559421"/>
                <a:gd name="connsiteY91" fmla="*/ 131308 h 4801077"/>
                <a:gd name="connsiteX92" fmla="*/ 3732896 w 9559421"/>
                <a:gd name="connsiteY92" fmla="*/ 114634 h 4801077"/>
                <a:gd name="connsiteX93" fmla="*/ 3604714 w 9559421"/>
                <a:gd name="connsiteY93" fmla="*/ 144856 h 4801077"/>
                <a:gd name="connsiteX94" fmla="*/ 3477575 w 9559421"/>
                <a:gd name="connsiteY94" fmla="*/ 178725 h 4801077"/>
                <a:gd name="connsiteX95" fmla="*/ 3464548 w 9559421"/>
                <a:gd name="connsiteY95" fmla="*/ 189146 h 4801077"/>
                <a:gd name="connsiteX96" fmla="*/ 3462464 w 9559421"/>
                <a:gd name="connsiteY96" fmla="*/ 205820 h 4801077"/>
                <a:gd name="connsiteX97" fmla="*/ 3483306 w 9559421"/>
                <a:gd name="connsiteY97" fmla="*/ 221452 h 4801077"/>
                <a:gd name="connsiteX98" fmla="*/ 3489559 w 9559421"/>
                <a:gd name="connsiteY98" fmla="*/ 220931 h 4801077"/>
                <a:gd name="connsiteX99" fmla="*/ 3615657 w 9559421"/>
                <a:gd name="connsiteY99" fmla="*/ 187062 h 4801077"/>
                <a:gd name="connsiteX100" fmla="*/ 3742275 w 9559421"/>
                <a:gd name="connsiteY100" fmla="*/ 156840 h 4801077"/>
                <a:gd name="connsiteX101" fmla="*/ 3758949 w 9559421"/>
                <a:gd name="connsiteY101" fmla="*/ 131308 h 4801077"/>
                <a:gd name="connsiteX102" fmla="*/ 3377010 w 9559421"/>
                <a:gd name="connsiteY102" fmla="*/ 248026 h 4801077"/>
                <a:gd name="connsiteX103" fmla="*/ 3378573 w 9559421"/>
                <a:gd name="connsiteY103" fmla="*/ 231352 h 4801077"/>
                <a:gd name="connsiteX104" fmla="*/ 3351478 w 9559421"/>
                <a:gd name="connsiteY104" fmla="*/ 216762 h 4801077"/>
                <a:gd name="connsiteX105" fmla="*/ 3338451 w 9559421"/>
                <a:gd name="connsiteY105" fmla="*/ 227184 h 4801077"/>
                <a:gd name="connsiteX106" fmla="*/ 3336888 w 9559421"/>
                <a:gd name="connsiteY106" fmla="*/ 243858 h 4801077"/>
                <a:gd name="connsiteX107" fmla="*/ 3357209 w 9559421"/>
                <a:gd name="connsiteY107" fmla="*/ 258968 h 4801077"/>
                <a:gd name="connsiteX108" fmla="*/ 3363983 w 9559421"/>
                <a:gd name="connsiteY108" fmla="*/ 257926 h 4801077"/>
                <a:gd name="connsiteX109" fmla="*/ 3377010 w 9559421"/>
                <a:gd name="connsiteY109" fmla="*/ 253758 h 4801077"/>
                <a:gd name="connsiteX110" fmla="*/ 3371278 w 9559421"/>
                <a:gd name="connsiteY110" fmla="*/ 253758 h 4801077"/>
                <a:gd name="connsiteX111" fmla="*/ 3377010 w 9559421"/>
                <a:gd name="connsiteY111" fmla="*/ 248026 h 4801077"/>
                <a:gd name="connsiteX112" fmla="*/ 6330395 w 9559421"/>
                <a:gd name="connsiteY112" fmla="*/ 256884 h 4801077"/>
                <a:gd name="connsiteX113" fmla="*/ 6204819 w 9559421"/>
                <a:gd name="connsiteY113" fmla="*/ 215720 h 4801077"/>
                <a:gd name="connsiteX114" fmla="*/ 6078721 w 9559421"/>
                <a:gd name="connsiteY114" fmla="*/ 178204 h 4801077"/>
                <a:gd name="connsiteX115" fmla="*/ 6051626 w 9559421"/>
                <a:gd name="connsiteY115" fmla="*/ 193314 h 4801077"/>
                <a:gd name="connsiteX116" fmla="*/ 6066737 w 9559421"/>
                <a:gd name="connsiteY116" fmla="*/ 219889 h 4801077"/>
                <a:gd name="connsiteX117" fmla="*/ 6190229 w 9559421"/>
                <a:gd name="connsiteY117" fmla="*/ 256363 h 4801077"/>
                <a:gd name="connsiteX118" fmla="*/ 6191792 w 9559421"/>
                <a:gd name="connsiteY118" fmla="*/ 257405 h 4801077"/>
                <a:gd name="connsiteX119" fmla="*/ 6193876 w 9559421"/>
                <a:gd name="connsiteY119" fmla="*/ 257926 h 4801077"/>
                <a:gd name="connsiteX120" fmla="*/ 6316326 w 9559421"/>
                <a:gd name="connsiteY120" fmla="*/ 298048 h 4801077"/>
                <a:gd name="connsiteX121" fmla="*/ 6323100 w 9559421"/>
                <a:gd name="connsiteY121" fmla="*/ 299611 h 4801077"/>
                <a:gd name="connsiteX122" fmla="*/ 6343422 w 9559421"/>
                <a:gd name="connsiteY122" fmla="*/ 285022 h 4801077"/>
                <a:gd name="connsiteX123" fmla="*/ 6330395 w 9559421"/>
                <a:gd name="connsiteY123" fmla="*/ 256884 h 4801077"/>
                <a:gd name="connsiteX124" fmla="*/ 6466914 w 9559421"/>
                <a:gd name="connsiteY124" fmla="*/ 312638 h 4801077"/>
                <a:gd name="connsiteX125" fmla="*/ 6454929 w 9559421"/>
                <a:gd name="connsiteY125" fmla="*/ 301175 h 4801077"/>
                <a:gd name="connsiteX126" fmla="*/ 6454408 w 9559421"/>
                <a:gd name="connsiteY126" fmla="*/ 301175 h 4801077"/>
                <a:gd name="connsiteX127" fmla="*/ 6426792 w 9559421"/>
                <a:gd name="connsiteY127" fmla="*/ 313680 h 4801077"/>
                <a:gd name="connsiteX128" fmla="*/ 6432523 w 9559421"/>
                <a:gd name="connsiteY128" fmla="*/ 337649 h 4801077"/>
                <a:gd name="connsiteX129" fmla="*/ 6428355 w 9559421"/>
                <a:gd name="connsiteY129" fmla="*/ 337649 h 4801077"/>
                <a:gd name="connsiteX130" fmla="*/ 6439818 w 9559421"/>
                <a:gd name="connsiteY130" fmla="*/ 341818 h 4801077"/>
                <a:gd name="connsiteX131" fmla="*/ 6447113 w 9559421"/>
                <a:gd name="connsiteY131" fmla="*/ 343381 h 4801077"/>
                <a:gd name="connsiteX132" fmla="*/ 6467434 w 9559421"/>
                <a:gd name="connsiteY132" fmla="*/ 329312 h 4801077"/>
                <a:gd name="connsiteX133" fmla="*/ 6466914 w 9559421"/>
                <a:gd name="connsiteY133" fmla="*/ 312638 h 4801077"/>
                <a:gd name="connsiteX134" fmla="*/ 3253518 w 9559421"/>
                <a:gd name="connsiteY134" fmla="*/ 271474 h 4801077"/>
                <a:gd name="connsiteX135" fmla="*/ 3226422 w 9559421"/>
                <a:gd name="connsiteY135" fmla="*/ 257926 h 4801077"/>
                <a:gd name="connsiteX136" fmla="*/ 3102409 w 9559421"/>
                <a:gd name="connsiteY136" fmla="*/ 302217 h 4801077"/>
                <a:gd name="connsiteX137" fmla="*/ 2979960 w 9559421"/>
                <a:gd name="connsiteY137" fmla="*/ 350676 h 4801077"/>
                <a:gd name="connsiteX138" fmla="*/ 2967975 w 9559421"/>
                <a:gd name="connsiteY138" fmla="*/ 362139 h 4801077"/>
                <a:gd name="connsiteX139" fmla="*/ 2967975 w 9559421"/>
                <a:gd name="connsiteY139" fmla="*/ 379334 h 4801077"/>
                <a:gd name="connsiteX140" fmla="*/ 2987775 w 9559421"/>
                <a:gd name="connsiteY140" fmla="*/ 392882 h 4801077"/>
                <a:gd name="connsiteX141" fmla="*/ 2996113 w 9559421"/>
                <a:gd name="connsiteY141" fmla="*/ 391319 h 4801077"/>
                <a:gd name="connsiteX142" fmla="*/ 3117520 w 9559421"/>
                <a:gd name="connsiteY142" fmla="*/ 343902 h 4801077"/>
                <a:gd name="connsiteX143" fmla="*/ 3240491 w 9559421"/>
                <a:gd name="connsiteY143" fmla="*/ 300132 h 4801077"/>
                <a:gd name="connsiteX144" fmla="*/ 3253518 w 9559421"/>
                <a:gd name="connsiteY144" fmla="*/ 271474 h 4801077"/>
                <a:gd name="connsiteX145" fmla="*/ 2887210 w 9559421"/>
                <a:gd name="connsiteY145" fmla="*/ 412682 h 4801077"/>
                <a:gd name="connsiteX146" fmla="*/ 2858552 w 9559421"/>
                <a:gd name="connsiteY146" fmla="*/ 401219 h 4801077"/>
                <a:gd name="connsiteX147" fmla="*/ 2856989 w 9559421"/>
                <a:gd name="connsiteY147" fmla="*/ 402261 h 4801077"/>
                <a:gd name="connsiteX148" fmla="*/ 2847089 w 9559421"/>
                <a:gd name="connsiteY148" fmla="*/ 413724 h 4801077"/>
                <a:gd name="connsiteX149" fmla="*/ 2847610 w 9559421"/>
                <a:gd name="connsiteY149" fmla="*/ 430398 h 4801077"/>
                <a:gd name="connsiteX150" fmla="*/ 2867410 w 9559421"/>
                <a:gd name="connsiteY150" fmla="*/ 443425 h 4801077"/>
                <a:gd name="connsiteX151" fmla="*/ 2876268 w 9559421"/>
                <a:gd name="connsiteY151" fmla="*/ 441862 h 4801077"/>
                <a:gd name="connsiteX152" fmla="*/ 2888252 w 9559421"/>
                <a:gd name="connsiteY152" fmla="*/ 429877 h 4801077"/>
                <a:gd name="connsiteX153" fmla="*/ 2887210 w 9559421"/>
                <a:gd name="connsiteY153" fmla="*/ 412682 h 4801077"/>
                <a:gd name="connsiteX154" fmla="*/ 6830615 w 9559421"/>
                <a:gd name="connsiteY154" fmla="*/ 467915 h 4801077"/>
                <a:gd name="connsiteX155" fmla="*/ 6819673 w 9559421"/>
                <a:gd name="connsiteY155" fmla="*/ 455409 h 4801077"/>
                <a:gd name="connsiteX156" fmla="*/ 6699829 w 9559421"/>
                <a:gd name="connsiteY156" fmla="*/ 401219 h 4801077"/>
                <a:gd name="connsiteX157" fmla="*/ 6577900 w 9559421"/>
                <a:gd name="connsiteY157" fmla="*/ 349633 h 4801077"/>
                <a:gd name="connsiteX158" fmla="*/ 6549762 w 9559421"/>
                <a:gd name="connsiteY158" fmla="*/ 361618 h 4801077"/>
                <a:gd name="connsiteX159" fmla="*/ 6561747 w 9559421"/>
                <a:gd name="connsiteY159" fmla="*/ 389755 h 4801077"/>
                <a:gd name="connsiteX160" fmla="*/ 6682113 w 9559421"/>
                <a:gd name="connsiteY160" fmla="*/ 440820 h 4801077"/>
                <a:gd name="connsiteX161" fmla="*/ 6801436 w 9559421"/>
                <a:gd name="connsiteY161" fmla="*/ 495010 h 4801077"/>
                <a:gd name="connsiteX162" fmla="*/ 6810815 w 9559421"/>
                <a:gd name="connsiteY162" fmla="*/ 497094 h 4801077"/>
                <a:gd name="connsiteX163" fmla="*/ 6830615 w 9559421"/>
                <a:gd name="connsiteY163" fmla="*/ 484589 h 4801077"/>
                <a:gd name="connsiteX164" fmla="*/ 6830615 w 9559421"/>
                <a:gd name="connsiteY164" fmla="*/ 467915 h 4801077"/>
                <a:gd name="connsiteX165" fmla="*/ 6937954 w 9559421"/>
                <a:gd name="connsiteY165" fmla="*/ 513768 h 4801077"/>
                <a:gd name="connsiteX166" fmla="*/ 6908775 w 9559421"/>
                <a:gd name="connsiteY166" fmla="*/ 523148 h 4801077"/>
                <a:gd name="connsiteX167" fmla="*/ 6907212 w 9559421"/>
                <a:gd name="connsiteY167" fmla="*/ 539822 h 4801077"/>
                <a:gd name="connsiteX168" fmla="*/ 6918154 w 9559421"/>
                <a:gd name="connsiteY168" fmla="*/ 552327 h 4801077"/>
                <a:gd name="connsiteX169" fmla="*/ 6927533 w 9559421"/>
                <a:gd name="connsiteY169" fmla="*/ 554411 h 4801077"/>
                <a:gd name="connsiteX170" fmla="*/ 6947334 w 9559421"/>
                <a:gd name="connsiteY170" fmla="*/ 542427 h 4801077"/>
                <a:gd name="connsiteX171" fmla="*/ 6937954 w 9559421"/>
                <a:gd name="connsiteY171" fmla="*/ 513768 h 4801077"/>
                <a:gd name="connsiteX172" fmla="*/ 2768408 w 9559421"/>
                <a:gd name="connsiteY172" fmla="*/ 466352 h 4801077"/>
                <a:gd name="connsiteX173" fmla="*/ 2739750 w 9559421"/>
                <a:gd name="connsiteY173" fmla="*/ 455930 h 4801077"/>
                <a:gd name="connsiteX174" fmla="*/ 2621989 w 9559421"/>
                <a:gd name="connsiteY174" fmla="*/ 513768 h 4801077"/>
                <a:gd name="connsiteX175" fmla="*/ 2620426 w 9559421"/>
                <a:gd name="connsiteY175" fmla="*/ 514289 h 4801077"/>
                <a:gd name="connsiteX176" fmla="*/ 2505271 w 9559421"/>
                <a:gd name="connsiteY176" fmla="*/ 574733 h 4801077"/>
                <a:gd name="connsiteX177" fmla="*/ 2496413 w 9559421"/>
                <a:gd name="connsiteY177" fmla="*/ 604433 h 4801077"/>
                <a:gd name="connsiteX178" fmla="*/ 2515692 w 9559421"/>
                <a:gd name="connsiteY178" fmla="*/ 615897 h 4801077"/>
                <a:gd name="connsiteX179" fmla="*/ 2526114 w 9559421"/>
                <a:gd name="connsiteY179" fmla="*/ 613292 h 4801077"/>
                <a:gd name="connsiteX180" fmla="*/ 2640226 w 9559421"/>
                <a:gd name="connsiteY180" fmla="*/ 553369 h 4801077"/>
                <a:gd name="connsiteX181" fmla="*/ 2641790 w 9559421"/>
                <a:gd name="connsiteY181" fmla="*/ 552848 h 4801077"/>
                <a:gd name="connsiteX182" fmla="*/ 2650127 w 9559421"/>
                <a:gd name="connsiteY182" fmla="*/ 548680 h 4801077"/>
                <a:gd name="connsiteX183" fmla="*/ 2758508 w 9559421"/>
                <a:gd name="connsiteY183" fmla="*/ 495531 h 4801077"/>
                <a:gd name="connsiteX184" fmla="*/ 2769971 w 9559421"/>
                <a:gd name="connsiteY184" fmla="*/ 483026 h 4801077"/>
                <a:gd name="connsiteX185" fmla="*/ 2768408 w 9559421"/>
                <a:gd name="connsiteY185" fmla="*/ 466352 h 4801077"/>
                <a:gd name="connsiteX186" fmla="*/ 2420338 w 9559421"/>
                <a:gd name="connsiteY186" fmla="*/ 647161 h 4801077"/>
                <a:gd name="connsiteX187" fmla="*/ 2390637 w 9559421"/>
                <a:gd name="connsiteY187" fmla="*/ 639345 h 4801077"/>
                <a:gd name="connsiteX188" fmla="*/ 2382300 w 9559421"/>
                <a:gd name="connsiteY188" fmla="*/ 669045 h 4801077"/>
                <a:gd name="connsiteX189" fmla="*/ 2401059 w 9559421"/>
                <a:gd name="connsiteY189" fmla="*/ 679988 h 4801077"/>
                <a:gd name="connsiteX190" fmla="*/ 2411480 w 9559421"/>
                <a:gd name="connsiteY190" fmla="*/ 677382 h 4801077"/>
                <a:gd name="connsiteX191" fmla="*/ 2412522 w 9559421"/>
                <a:gd name="connsiteY191" fmla="*/ 676861 h 4801077"/>
                <a:gd name="connsiteX192" fmla="*/ 2420338 w 9559421"/>
                <a:gd name="connsiteY192" fmla="*/ 647161 h 4801077"/>
                <a:gd name="connsiteX193" fmla="*/ 7292798 w 9559421"/>
                <a:gd name="connsiteY193" fmla="*/ 720631 h 4801077"/>
                <a:gd name="connsiteX194" fmla="*/ 7282898 w 9559421"/>
                <a:gd name="connsiteY194" fmla="*/ 707083 h 4801077"/>
                <a:gd name="connsiteX195" fmla="*/ 7169827 w 9559421"/>
                <a:gd name="connsiteY195" fmla="*/ 639866 h 4801077"/>
                <a:gd name="connsiteX196" fmla="*/ 7055193 w 9559421"/>
                <a:gd name="connsiteY196" fmla="*/ 575254 h 4801077"/>
                <a:gd name="connsiteX197" fmla="*/ 7053630 w 9559421"/>
                <a:gd name="connsiteY197" fmla="*/ 574733 h 4801077"/>
                <a:gd name="connsiteX198" fmla="*/ 7026014 w 9559421"/>
                <a:gd name="connsiteY198" fmla="*/ 584112 h 4801077"/>
                <a:gd name="connsiteX199" fmla="*/ 7024451 w 9559421"/>
                <a:gd name="connsiteY199" fmla="*/ 600786 h 4801077"/>
                <a:gd name="connsiteX200" fmla="*/ 7034872 w 9559421"/>
                <a:gd name="connsiteY200" fmla="*/ 613813 h 4801077"/>
                <a:gd name="connsiteX201" fmla="*/ 7148985 w 9559421"/>
                <a:gd name="connsiteY201" fmla="*/ 677903 h 4801077"/>
                <a:gd name="connsiteX202" fmla="*/ 7261013 w 9559421"/>
                <a:gd name="connsiteY202" fmla="*/ 744599 h 4801077"/>
                <a:gd name="connsiteX203" fmla="*/ 7272477 w 9559421"/>
                <a:gd name="connsiteY203" fmla="*/ 748247 h 4801077"/>
                <a:gd name="connsiteX204" fmla="*/ 7291235 w 9559421"/>
                <a:gd name="connsiteY204" fmla="*/ 737826 h 4801077"/>
                <a:gd name="connsiteX205" fmla="*/ 7292798 w 9559421"/>
                <a:gd name="connsiteY205" fmla="*/ 720631 h 4801077"/>
                <a:gd name="connsiteX206" fmla="*/ 7394406 w 9559421"/>
                <a:gd name="connsiteY206" fmla="*/ 777948 h 4801077"/>
                <a:gd name="connsiteX207" fmla="*/ 7394406 w 9559421"/>
                <a:gd name="connsiteY207" fmla="*/ 777948 h 4801077"/>
                <a:gd name="connsiteX208" fmla="*/ 7364184 w 9559421"/>
                <a:gd name="connsiteY208" fmla="*/ 784200 h 4801077"/>
                <a:gd name="connsiteX209" fmla="*/ 7370957 w 9559421"/>
                <a:gd name="connsiteY209" fmla="*/ 814422 h 4801077"/>
                <a:gd name="connsiteX210" fmla="*/ 7382943 w 9559421"/>
                <a:gd name="connsiteY210" fmla="*/ 818590 h 4801077"/>
                <a:gd name="connsiteX211" fmla="*/ 7401179 w 9559421"/>
                <a:gd name="connsiteY211" fmla="*/ 808690 h 4801077"/>
                <a:gd name="connsiteX212" fmla="*/ 7394406 w 9559421"/>
                <a:gd name="connsiteY212" fmla="*/ 777948 h 4801077"/>
                <a:gd name="connsiteX213" fmla="*/ 2307267 w 9559421"/>
                <a:gd name="connsiteY213" fmla="*/ 713336 h 4801077"/>
                <a:gd name="connsiteX214" fmla="*/ 2277045 w 9559421"/>
                <a:gd name="connsiteY214" fmla="*/ 706562 h 4801077"/>
                <a:gd name="connsiteX215" fmla="*/ 2166059 w 9559421"/>
                <a:gd name="connsiteY215" fmla="*/ 776905 h 4801077"/>
                <a:gd name="connsiteX216" fmla="*/ 2056636 w 9559421"/>
                <a:gd name="connsiteY216" fmla="*/ 850375 h 4801077"/>
                <a:gd name="connsiteX217" fmla="*/ 2047778 w 9559421"/>
                <a:gd name="connsiteY217" fmla="*/ 864444 h 4801077"/>
                <a:gd name="connsiteX218" fmla="*/ 2051425 w 9559421"/>
                <a:gd name="connsiteY218" fmla="*/ 880597 h 4801077"/>
                <a:gd name="connsiteX219" fmla="*/ 2069141 w 9559421"/>
                <a:gd name="connsiteY219" fmla="*/ 889976 h 4801077"/>
                <a:gd name="connsiteX220" fmla="*/ 2081126 w 9559421"/>
                <a:gd name="connsiteY220" fmla="*/ 885808 h 4801077"/>
                <a:gd name="connsiteX221" fmla="*/ 2189507 w 9559421"/>
                <a:gd name="connsiteY221" fmla="*/ 812859 h 4801077"/>
                <a:gd name="connsiteX222" fmla="*/ 2299451 w 9559421"/>
                <a:gd name="connsiteY222" fmla="*/ 743036 h 4801077"/>
                <a:gd name="connsiteX223" fmla="*/ 2307267 w 9559421"/>
                <a:gd name="connsiteY223" fmla="*/ 713336 h 4801077"/>
                <a:gd name="connsiteX224" fmla="*/ 1980561 w 9559421"/>
                <a:gd name="connsiteY224" fmla="*/ 931661 h 4801077"/>
                <a:gd name="connsiteX225" fmla="*/ 1950339 w 9559421"/>
                <a:gd name="connsiteY225" fmla="*/ 926972 h 4801077"/>
                <a:gd name="connsiteX226" fmla="*/ 1946170 w 9559421"/>
                <a:gd name="connsiteY226" fmla="*/ 957193 h 4801077"/>
                <a:gd name="connsiteX227" fmla="*/ 1963365 w 9559421"/>
                <a:gd name="connsiteY227" fmla="*/ 966572 h 4801077"/>
                <a:gd name="connsiteX228" fmla="*/ 1976392 w 9559421"/>
                <a:gd name="connsiteY228" fmla="*/ 962404 h 4801077"/>
                <a:gd name="connsiteX229" fmla="*/ 1980561 w 9559421"/>
                <a:gd name="connsiteY229" fmla="*/ 931661 h 4801077"/>
                <a:gd name="connsiteX230" fmla="*/ 7715902 w 9559421"/>
                <a:gd name="connsiteY230" fmla="*/ 1007736 h 4801077"/>
                <a:gd name="connsiteX231" fmla="*/ 7611168 w 9559421"/>
                <a:gd name="connsiteY231" fmla="*/ 928014 h 4801077"/>
                <a:gd name="connsiteX232" fmla="*/ 7504350 w 9559421"/>
                <a:gd name="connsiteY232" fmla="*/ 850896 h 4801077"/>
                <a:gd name="connsiteX233" fmla="*/ 7474129 w 9559421"/>
                <a:gd name="connsiteY233" fmla="*/ 856628 h 4801077"/>
                <a:gd name="connsiteX234" fmla="*/ 7470481 w 9559421"/>
                <a:gd name="connsiteY234" fmla="*/ 873302 h 4801077"/>
                <a:gd name="connsiteX235" fmla="*/ 7479860 w 9559421"/>
                <a:gd name="connsiteY235" fmla="*/ 886850 h 4801077"/>
                <a:gd name="connsiteX236" fmla="*/ 7586157 w 9559421"/>
                <a:gd name="connsiteY236" fmla="*/ 962925 h 4801077"/>
                <a:gd name="connsiteX237" fmla="*/ 7690369 w 9559421"/>
                <a:gd name="connsiteY237" fmla="*/ 1042127 h 4801077"/>
                <a:gd name="connsiteX238" fmla="*/ 7703396 w 9559421"/>
                <a:gd name="connsiteY238" fmla="*/ 1046295 h 4801077"/>
                <a:gd name="connsiteX239" fmla="*/ 7720591 w 9559421"/>
                <a:gd name="connsiteY239" fmla="*/ 1037958 h 4801077"/>
                <a:gd name="connsiteX240" fmla="*/ 7724760 w 9559421"/>
                <a:gd name="connsiteY240" fmla="*/ 1021805 h 4801077"/>
                <a:gd name="connsiteX241" fmla="*/ 7715902 w 9559421"/>
                <a:gd name="connsiteY241" fmla="*/ 1007736 h 4801077"/>
                <a:gd name="connsiteX242" fmla="*/ 7819072 w 9559421"/>
                <a:gd name="connsiteY242" fmla="*/ 1090064 h 4801077"/>
                <a:gd name="connsiteX243" fmla="*/ 7788329 w 9559421"/>
                <a:gd name="connsiteY243" fmla="*/ 1093191 h 4801077"/>
                <a:gd name="connsiteX244" fmla="*/ 7783640 w 9559421"/>
                <a:gd name="connsiteY244" fmla="*/ 1109344 h 4801077"/>
                <a:gd name="connsiteX245" fmla="*/ 7791456 w 9559421"/>
                <a:gd name="connsiteY245" fmla="*/ 1123934 h 4801077"/>
                <a:gd name="connsiteX246" fmla="*/ 7805525 w 9559421"/>
                <a:gd name="connsiteY246" fmla="*/ 1129144 h 4801077"/>
                <a:gd name="connsiteX247" fmla="*/ 7822198 w 9559421"/>
                <a:gd name="connsiteY247" fmla="*/ 1120807 h 4801077"/>
                <a:gd name="connsiteX248" fmla="*/ 7827409 w 9559421"/>
                <a:gd name="connsiteY248" fmla="*/ 1105175 h 4801077"/>
                <a:gd name="connsiteX249" fmla="*/ 7819072 w 9559421"/>
                <a:gd name="connsiteY249" fmla="*/ 1090064 h 4801077"/>
                <a:gd name="connsiteX250" fmla="*/ 1876348 w 9559421"/>
                <a:gd name="connsiteY250" fmla="*/ 1010342 h 4801077"/>
                <a:gd name="connsiteX251" fmla="*/ 1845605 w 9559421"/>
                <a:gd name="connsiteY251" fmla="*/ 1006173 h 4801077"/>
                <a:gd name="connsiteX252" fmla="*/ 1744519 w 9559421"/>
                <a:gd name="connsiteY252" fmla="*/ 1086938 h 4801077"/>
                <a:gd name="connsiteX253" fmla="*/ 1742956 w 9559421"/>
                <a:gd name="connsiteY253" fmla="*/ 1088501 h 4801077"/>
                <a:gd name="connsiteX254" fmla="*/ 1642912 w 9559421"/>
                <a:gd name="connsiteY254" fmla="*/ 1173956 h 4801077"/>
                <a:gd name="connsiteX255" fmla="*/ 1635096 w 9559421"/>
                <a:gd name="connsiteY255" fmla="*/ 1188545 h 4801077"/>
                <a:gd name="connsiteX256" fmla="*/ 1640828 w 9559421"/>
                <a:gd name="connsiteY256" fmla="*/ 1204177 h 4801077"/>
                <a:gd name="connsiteX257" fmla="*/ 1656981 w 9559421"/>
                <a:gd name="connsiteY257" fmla="*/ 1211472 h 4801077"/>
                <a:gd name="connsiteX258" fmla="*/ 1671570 w 9559421"/>
                <a:gd name="connsiteY258" fmla="*/ 1206262 h 4801077"/>
                <a:gd name="connsiteX259" fmla="*/ 1674176 w 9559421"/>
                <a:gd name="connsiteY259" fmla="*/ 1204177 h 4801077"/>
                <a:gd name="connsiteX260" fmla="*/ 1771093 w 9559421"/>
                <a:gd name="connsiteY260" fmla="*/ 1121849 h 4801077"/>
                <a:gd name="connsiteX261" fmla="*/ 1872701 w 9559421"/>
                <a:gd name="connsiteY261" fmla="*/ 1040563 h 4801077"/>
                <a:gd name="connsiteX262" fmla="*/ 1876348 w 9559421"/>
                <a:gd name="connsiteY262" fmla="*/ 1010342 h 4801077"/>
                <a:gd name="connsiteX263" fmla="*/ 1575174 w 9559421"/>
                <a:gd name="connsiteY263" fmla="*/ 1262536 h 4801077"/>
                <a:gd name="connsiteX264" fmla="*/ 1544431 w 9559421"/>
                <a:gd name="connsiteY264" fmla="*/ 1260973 h 4801077"/>
                <a:gd name="connsiteX265" fmla="*/ 1537657 w 9559421"/>
                <a:gd name="connsiteY265" fmla="*/ 1276084 h 4801077"/>
                <a:gd name="connsiteX266" fmla="*/ 1543389 w 9559421"/>
                <a:gd name="connsiteY266" fmla="*/ 1291716 h 4801077"/>
                <a:gd name="connsiteX267" fmla="*/ 1559542 w 9559421"/>
                <a:gd name="connsiteY267" fmla="*/ 1298490 h 4801077"/>
                <a:gd name="connsiteX268" fmla="*/ 1574132 w 9559421"/>
                <a:gd name="connsiteY268" fmla="*/ 1292758 h 4801077"/>
                <a:gd name="connsiteX269" fmla="*/ 1575174 w 9559421"/>
                <a:gd name="connsiteY269" fmla="*/ 1262536 h 4801077"/>
                <a:gd name="connsiteX270" fmla="*/ 8112952 w 9559421"/>
                <a:gd name="connsiteY270" fmla="*/ 1353722 h 4801077"/>
                <a:gd name="connsiteX271" fmla="*/ 8017076 w 9559421"/>
                <a:gd name="connsiteY271" fmla="*/ 1263057 h 4801077"/>
                <a:gd name="connsiteX272" fmla="*/ 7919116 w 9559421"/>
                <a:gd name="connsiteY272" fmla="*/ 1174998 h 4801077"/>
                <a:gd name="connsiteX273" fmla="*/ 7888373 w 9559421"/>
                <a:gd name="connsiteY273" fmla="*/ 1177082 h 4801077"/>
                <a:gd name="connsiteX274" fmla="*/ 7883163 w 9559421"/>
                <a:gd name="connsiteY274" fmla="*/ 1192714 h 4801077"/>
                <a:gd name="connsiteX275" fmla="*/ 7890457 w 9559421"/>
                <a:gd name="connsiteY275" fmla="*/ 1207304 h 4801077"/>
                <a:gd name="connsiteX276" fmla="*/ 7890979 w 9559421"/>
                <a:gd name="connsiteY276" fmla="*/ 1208346 h 4801077"/>
                <a:gd name="connsiteX277" fmla="*/ 7987375 w 9559421"/>
                <a:gd name="connsiteY277" fmla="*/ 1294842 h 4801077"/>
                <a:gd name="connsiteX278" fmla="*/ 8082209 w 9559421"/>
                <a:gd name="connsiteY278" fmla="*/ 1384465 h 4801077"/>
                <a:gd name="connsiteX279" fmla="*/ 8097319 w 9559421"/>
                <a:gd name="connsiteY279" fmla="*/ 1390718 h 4801077"/>
                <a:gd name="connsiteX280" fmla="*/ 8112952 w 9559421"/>
                <a:gd name="connsiteY280" fmla="*/ 1383944 h 4801077"/>
                <a:gd name="connsiteX281" fmla="*/ 8112952 w 9559421"/>
                <a:gd name="connsiteY281" fmla="*/ 1353722 h 4801077"/>
                <a:gd name="connsiteX282" fmla="*/ 8206222 w 9559421"/>
                <a:gd name="connsiteY282" fmla="*/ 1446993 h 4801077"/>
                <a:gd name="connsiteX283" fmla="*/ 8175479 w 9559421"/>
                <a:gd name="connsiteY283" fmla="*/ 1446472 h 4801077"/>
                <a:gd name="connsiteX284" fmla="*/ 8174958 w 9559421"/>
                <a:gd name="connsiteY284" fmla="*/ 1477215 h 4801077"/>
                <a:gd name="connsiteX285" fmla="*/ 8190590 w 9559421"/>
                <a:gd name="connsiteY285" fmla="*/ 1483988 h 4801077"/>
                <a:gd name="connsiteX286" fmla="*/ 8205701 w 9559421"/>
                <a:gd name="connsiteY286" fmla="*/ 1477736 h 4801077"/>
                <a:gd name="connsiteX287" fmla="*/ 8206222 w 9559421"/>
                <a:gd name="connsiteY287" fmla="*/ 1446993 h 4801077"/>
                <a:gd name="connsiteX288" fmla="*/ 1479819 w 9559421"/>
                <a:gd name="connsiteY288" fmla="*/ 1352159 h 4801077"/>
                <a:gd name="connsiteX289" fmla="*/ 1449076 w 9559421"/>
                <a:gd name="connsiteY289" fmla="*/ 1351638 h 4801077"/>
                <a:gd name="connsiteX290" fmla="*/ 1355806 w 9559421"/>
                <a:gd name="connsiteY290" fmla="*/ 1444909 h 4801077"/>
                <a:gd name="connsiteX291" fmla="*/ 1265141 w 9559421"/>
                <a:gd name="connsiteY291" fmla="*/ 1540784 h 4801077"/>
                <a:gd name="connsiteX292" fmla="*/ 1259409 w 9559421"/>
                <a:gd name="connsiteY292" fmla="*/ 1556416 h 4801077"/>
                <a:gd name="connsiteX293" fmla="*/ 1266183 w 9559421"/>
                <a:gd name="connsiteY293" fmla="*/ 1571006 h 4801077"/>
                <a:gd name="connsiteX294" fmla="*/ 1280773 w 9559421"/>
                <a:gd name="connsiteY294" fmla="*/ 1577259 h 4801077"/>
                <a:gd name="connsiteX295" fmla="*/ 1296405 w 9559421"/>
                <a:gd name="connsiteY295" fmla="*/ 1570485 h 4801077"/>
                <a:gd name="connsiteX296" fmla="*/ 1386549 w 9559421"/>
                <a:gd name="connsiteY296" fmla="*/ 1475651 h 4801077"/>
                <a:gd name="connsiteX297" fmla="*/ 1478777 w 9559421"/>
                <a:gd name="connsiteY297" fmla="*/ 1383423 h 4801077"/>
                <a:gd name="connsiteX298" fmla="*/ 1479819 w 9559421"/>
                <a:gd name="connsiteY298" fmla="*/ 1352159 h 4801077"/>
                <a:gd name="connsiteX299" fmla="*/ 1215119 w 9559421"/>
                <a:gd name="connsiteY299" fmla="*/ 1651250 h 4801077"/>
                <a:gd name="connsiteX300" fmla="*/ 1207824 w 9559421"/>
                <a:gd name="connsiteY300" fmla="*/ 1636139 h 4801077"/>
                <a:gd name="connsiteX301" fmla="*/ 1177603 w 9559421"/>
                <a:gd name="connsiteY301" fmla="*/ 1638223 h 4801077"/>
                <a:gd name="connsiteX302" fmla="*/ 1171871 w 9559421"/>
                <a:gd name="connsiteY302" fmla="*/ 1653855 h 4801077"/>
                <a:gd name="connsiteX303" fmla="*/ 1179687 w 9559421"/>
                <a:gd name="connsiteY303" fmla="*/ 1668966 h 4801077"/>
                <a:gd name="connsiteX304" fmla="*/ 1193755 w 9559421"/>
                <a:gd name="connsiteY304" fmla="*/ 1674177 h 4801077"/>
                <a:gd name="connsiteX305" fmla="*/ 1210429 w 9559421"/>
                <a:gd name="connsiteY305" fmla="*/ 1666882 h 4801077"/>
                <a:gd name="connsiteX306" fmla="*/ 1213556 w 9559421"/>
                <a:gd name="connsiteY306" fmla="*/ 1663234 h 4801077"/>
                <a:gd name="connsiteX307" fmla="*/ 1212514 w 9559421"/>
                <a:gd name="connsiteY307" fmla="*/ 1663234 h 4801077"/>
                <a:gd name="connsiteX308" fmla="*/ 1215119 w 9559421"/>
                <a:gd name="connsiteY308" fmla="*/ 1651250 h 4801077"/>
                <a:gd name="connsiteX309" fmla="*/ 8469358 w 9559421"/>
                <a:gd name="connsiteY309" fmla="*/ 1740873 h 4801077"/>
                <a:gd name="connsiteX310" fmla="*/ 8385467 w 9559421"/>
                <a:gd name="connsiteY310" fmla="*/ 1641871 h 4801077"/>
                <a:gd name="connsiteX311" fmla="*/ 8384426 w 9559421"/>
                <a:gd name="connsiteY311" fmla="*/ 1640307 h 4801077"/>
                <a:gd name="connsiteX312" fmla="*/ 8296366 w 9559421"/>
                <a:gd name="connsiteY312" fmla="*/ 1542347 h 4801077"/>
                <a:gd name="connsiteX313" fmla="*/ 8265623 w 9559421"/>
                <a:gd name="connsiteY313" fmla="*/ 1540784 h 4801077"/>
                <a:gd name="connsiteX314" fmla="*/ 8258849 w 9559421"/>
                <a:gd name="connsiteY314" fmla="*/ 1555895 h 4801077"/>
                <a:gd name="connsiteX315" fmla="*/ 8264581 w 9559421"/>
                <a:gd name="connsiteY315" fmla="*/ 1571527 h 4801077"/>
                <a:gd name="connsiteX316" fmla="*/ 8351598 w 9559421"/>
                <a:gd name="connsiteY316" fmla="*/ 1668445 h 4801077"/>
                <a:gd name="connsiteX317" fmla="*/ 8436010 w 9559421"/>
                <a:gd name="connsiteY317" fmla="*/ 1767968 h 4801077"/>
                <a:gd name="connsiteX318" fmla="*/ 8453205 w 9559421"/>
                <a:gd name="connsiteY318" fmla="*/ 1775784 h 4801077"/>
                <a:gd name="connsiteX319" fmla="*/ 8467274 w 9559421"/>
                <a:gd name="connsiteY319" fmla="*/ 1770573 h 4801077"/>
                <a:gd name="connsiteX320" fmla="*/ 8469358 w 9559421"/>
                <a:gd name="connsiteY320" fmla="*/ 1740873 h 4801077"/>
                <a:gd name="connsiteX321" fmla="*/ 8552208 w 9559421"/>
                <a:gd name="connsiteY321" fmla="*/ 1843522 h 4801077"/>
                <a:gd name="connsiteX322" fmla="*/ 8551165 w 9559421"/>
                <a:gd name="connsiteY322" fmla="*/ 1842480 h 4801077"/>
                <a:gd name="connsiteX323" fmla="*/ 8520944 w 9559421"/>
                <a:gd name="connsiteY323" fmla="*/ 1839875 h 4801077"/>
                <a:gd name="connsiteX324" fmla="*/ 8512607 w 9559421"/>
                <a:gd name="connsiteY324" fmla="*/ 1857070 h 4801077"/>
                <a:gd name="connsiteX325" fmla="*/ 8517296 w 9559421"/>
                <a:gd name="connsiteY325" fmla="*/ 1870096 h 4801077"/>
                <a:gd name="connsiteX326" fmla="*/ 8534491 w 9559421"/>
                <a:gd name="connsiteY326" fmla="*/ 1878954 h 4801077"/>
                <a:gd name="connsiteX327" fmla="*/ 8548039 w 9559421"/>
                <a:gd name="connsiteY327" fmla="*/ 1874265 h 4801077"/>
                <a:gd name="connsiteX328" fmla="*/ 8552208 w 9559421"/>
                <a:gd name="connsiteY328" fmla="*/ 1843522 h 4801077"/>
                <a:gd name="connsiteX329" fmla="*/ 1122370 w 9559421"/>
                <a:gd name="connsiteY329" fmla="*/ 1735662 h 4801077"/>
                <a:gd name="connsiteX330" fmla="*/ 1092148 w 9559421"/>
                <a:gd name="connsiteY330" fmla="*/ 1738788 h 4801077"/>
                <a:gd name="connsiteX331" fmla="*/ 1009299 w 9559421"/>
                <a:gd name="connsiteY331" fmla="*/ 1841438 h 4801077"/>
                <a:gd name="connsiteX332" fmla="*/ 929576 w 9559421"/>
                <a:gd name="connsiteY332" fmla="*/ 1946693 h 4801077"/>
                <a:gd name="connsiteX333" fmla="*/ 925408 w 9559421"/>
                <a:gd name="connsiteY333" fmla="*/ 1962845 h 4801077"/>
                <a:gd name="connsiteX334" fmla="*/ 934266 w 9559421"/>
                <a:gd name="connsiteY334" fmla="*/ 1977435 h 4801077"/>
                <a:gd name="connsiteX335" fmla="*/ 946772 w 9559421"/>
                <a:gd name="connsiteY335" fmla="*/ 1981604 h 4801077"/>
                <a:gd name="connsiteX336" fmla="*/ 964488 w 9559421"/>
                <a:gd name="connsiteY336" fmla="*/ 1972746 h 4801077"/>
                <a:gd name="connsiteX337" fmla="*/ 1043168 w 9559421"/>
                <a:gd name="connsiteY337" fmla="*/ 1868533 h 4801077"/>
                <a:gd name="connsiteX338" fmla="*/ 1124975 w 9559421"/>
                <a:gd name="connsiteY338" fmla="*/ 1766926 h 4801077"/>
                <a:gd name="connsiteX339" fmla="*/ 1129665 w 9559421"/>
                <a:gd name="connsiteY339" fmla="*/ 1750773 h 4801077"/>
                <a:gd name="connsiteX340" fmla="*/ 1122370 w 9559421"/>
                <a:gd name="connsiteY340" fmla="*/ 1735662 h 4801077"/>
                <a:gd name="connsiteX341" fmla="*/ 883202 w 9559421"/>
                <a:gd name="connsiteY341" fmla="*/ 2048821 h 4801077"/>
                <a:gd name="connsiteX342" fmla="*/ 852980 w 9559421"/>
                <a:gd name="connsiteY342" fmla="*/ 2054032 h 4801077"/>
                <a:gd name="connsiteX343" fmla="*/ 849333 w 9559421"/>
                <a:gd name="connsiteY343" fmla="*/ 2070185 h 4801077"/>
                <a:gd name="connsiteX344" fmla="*/ 858191 w 9559421"/>
                <a:gd name="connsiteY344" fmla="*/ 2084774 h 4801077"/>
                <a:gd name="connsiteX345" fmla="*/ 870696 w 9559421"/>
                <a:gd name="connsiteY345" fmla="*/ 2088943 h 4801077"/>
                <a:gd name="connsiteX346" fmla="*/ 888412 w 9559421"/>
                <a:gd name="connsiteY346" fmla="*/ 2079564 h 4801077"/>
                <a:gd name="connsiteX347" fmla="*/ 883202 w 9559421"/>
                <a:gd name="connsiteY347" fmla="*/ 2048821 h 4801077"/>
                <a:gd name="connsiteX348" fmla="*/ 8781475 w 9559421"/>
                <a:gd name="connsiteY348" fmla="*/ 2165018 h 4801077"/>
                <a:gd name="connsiteX349" fmla="*/ 8708005 w 9559421"/>
                <a:gd name="connsiteY349" fmla="*/ 2055595 h 4801077"/>
                <a:gd name="connsiteX350" fmla="*/ 8631409 w 9559421"/>
                <a:gd name="connsiteY350" fmla="*/ 1948777 h 4801077"/>
                <a:gd name="connsiteX351" fmla="*/ 8601187 w 9559421"/>
                <a:gd name="connsiteY351" fmla="*/ 1944608 h 4801077"/>
                <a:gd name="connsiteX352" fmla="*/ 8592329 w 9559421"/>
                <a:gd name="connsiteY352" fmla="*/ 1958677 h 4801077"/>
                <a:gd name="connsiteX353" fmla="*/ 8596498 w 9559421"/>
                <a:gd name="connsiteY353" fmla="*/ 1974830 h 4801077"/>
                <a:gd name="connsiteX354" fmla="*/ 8672052 w 9559421"/>
                <a:gd name="connsiteY354" fmla="*/ 2081127 h 4801077"/>
                <a:gd name="connsiteX355" fmla="*/ 8744479 w 9559421"/>
                <a:gd name="connsiteY355" fmla="*/ 2188987 h 4801077"/>
                <a:gd name="connsiteX356" fmla="*/ 8762717 w 9559421"/>
                <a:gd name="connsiteY356" fmla="*/ 2198887 h 4801077"/>
                <a:gd name="connsiteX357" fmla="*/ 8774701 w 9559421"/>
                <a:gd name="connsiteY357" fmla="*/ 2195240 h 4801077"/>
                <a:gd name="connsiteX358" fmla="*/ 8784081 w 9559421"/>
                <a:gd name="connsiteY358" fmla="*/ 2181171 h 4801077"/>
                <a:gd name="connsiteX359" fmla="*/ 8781475 w 9559421"/>
                <a:gd name="connsiteY359" fmla="*/ 2165018 h 4801077"/>
                <a:gd name="connsiteX360" fmla="*/ 8851819 w 9559421"/>
                <a:gd name="connsiteY360" fmla="*/ 2275483 h 4801077"/>
                <a:gd name="connsiteX361" fmla="*/ 8847650 w 9559421"/>
                <a:gd name="connsiteY361" fmla="*/ 2268710 h 4801077"/>
                <a:gd name="connsiteX362" fmla="*/ 8847650 w 9559421"/>
                <a:gd name="connsiteY362" fmla="*/ 2270273 h 4801077"/>
                <a:gd name="connsiteX363" fmla="*/ 8821597 w 9559421"/>
                <a:gd name="connsiteY363" fmla="*/ 2267668 h 4801077"/>
                <a:gd name="connsiteX364" fmla="*/ 8812218 w 9559421"/>
                <a:gd name="connsiteY364" fmla="*/ 2281215 h 4801077"/>
                <a:gd name="connsiteX365" fmla="*/ 8814302 w 9559421"/>
                <a:gd name="connsiteY365" fmla="*/ 2297368 h 4801077"/>
                <a:gd name="connsiteX366" fmla="*/ 8814823 w 9559421"/>
                <a:gd name="connsiteY366" fmla="*/ 2297889 h 4801077"/>
                <a:gd name="connsiteX367" fmla="*/ 8833582 w 9559421"/>
                <a:gd name="connsiteY367" fmla="*/ 2308311 h 4801077"/>
                <a:gd name="connsiteX368" fmla="*/ 8845045 w 9559421"/>
                <a:gd name="connsiteY368" fmla="*/ 2305184 h 4801077"/>
                <a:gd name="connsiteX369" fmla="*/ 8851819 w 9559421"/>
                <a:gd name="connsiteY369" fmla="*/ 2275483 h 4801077"/>
                <a:gd name="connsiteX370" fmla="*/ 809732 w 9559421"/>
                <a:gd name="connsiteY370" fmla="*/ 2156681 h 4801077"/>
                <a:gd name="connsiteX371" fmla="*/ 779510 w 9559421"/>
                <a:gd name="connsiteY371" fmla="*/ 2162934 h 4801077"/>
                <a:gd name="connsiteX372" fmla="*/ 709167 w 9559421"/>
                <a:gd name="connsiteY372" fmla="*/ 2274442 h 4801077"/>
                <a:gd name="connsiteX373" fmla="*/ 641429 w 9559421"/>
                <a:gd name="connsiteY373" fmla="*/ 2387512 h 4801077"/>
                <a:gd name="connsiteX374" fmla="*/ 639344 w 9559421"/>
                <a:gd name="connsiteY374" fmla="*/ 2404186 h 4801077"/>
                <a:gd name="connsiteX375" fmla="*/ 649245 w 9559421"/>
                <a:gd name="connsiteY375" fmla="*/ 2417734 h 4801077"/>
                <a:gd name="connsiteX376" fmla="*/ 660187 w 9559421"/>
                <a:gd name="connsiteY376" fmla="*/ 2420339 h 4801077"/>
                <a:gd name="connsiteX377" fmla="*/ 679466 w 9559421"/>
                <a:gd name="connsiteY377" fmla="*/ 2409397 h 4801077"/>
                <a:gd name="connsiteX378" fmla="*/ 746683 w 9559421"/>
                <a:gd name="connsiteY378" fmla="*/ 2297368 h 4801077"/>
                <a:gd name="connsiteX379" fmla="*/ 816506 w 9559421"/>
                <a:gd name="connsiteY379" fmla="*/ 2187424 h 4801077"/>
                <a:gd name="connsiteX380" fmla="*/ 809732 w 9559421"/>
                <a:gd name="connsiteY380" fmla="*/ 2156681 h 4801077"/>
                <a:gd name="connsiteX381" fmla="*/ 605996 w 9559421"/>
                <a:gd name="connsiteY381" fmla="*/ 2494330 h 4801077"/>
                <a:gd name="connsiteX382" fmla="*/ 576296 w 9559421"/>
                <a:gd name="connsiteY382" fmla="*/ 2503188 h 4801077"/>
                <a:gd name="connsiteX383" fmla="*/ 574733 w 9559421"/>
                <a:gd name="connsiteY383" fmla="*/ 2519862 h 4801077"/>
                <a:gd name="connsiteX384" fmla="*/ 585154 w 9559421"/>
                <a:gd name="connsiteY384" fmla="*/ 2532889 h 4801077"/>
                <a:gd name="connsiteX385" fmla="*/ 595575 w 9559421"/>
                <a:gd name="connsiteY385" fmla="*/ 2535494 h 4801077"/>
                <a:gd name="connsiteX386" fmla="*/ 614854 w 9559421"/>
                <a:gd name="connsiteY386" fmla="*/ 2523510 h 4801077"/>
                <a:gd name="connsiteX387" fmla="*/ 605996 w 9559421"/>
                <a:gd name="connsiteY387" fmla="*/ 2494330 h 4801077"/>
                <a:gd name="connsiteX388" fmla="*/ 9044612 w 9559421"/>
                <a:gd name="connsiteY388" fmla="*/ 2619385 h 4801077"/>
                <a:gd name="connsiteX389" fmla="*/ 8984169 w 9559421"/>
                <a:gd name="connsiteY389" fmla="*/ 2504230 h 4801077"/>
                <a:gd name="connsiteX390" fmla="*/ 8983648 w 9559421"/>
                <a:gd name="connsiteY390" fmla="*/ 2502667 h 4801077"/>
                <a:gd name="connsiteX391" fmla="*/ 8919036 w 9559421"/>
                <a:gd name="connsiteY391" fmla="*/ 2388033 h 4801077"/>
                <a:gd name="connsiteX392" fmla="*/ 8889335 w 9559421"/>
                <a:gd name="connsiteY392" fmla="*/ 2380217 h 4801077"/>
                <a:gd name="connsiteX393" fmla="*/ 8880998 w 9559421"/>
                <a:gd name="connsiteY393" fmla="*/ 2409918 h 4801077"/>
                <a:gd name="connsiteX394" fmla="*/ 8945089 w 9559421"/>
                <a:gd name="connsiteY394" fmla="*/ 2523510 h 4801077"/>
                <a:gd name="connsiteX395" fmla="*/ 9005532 w 9559421"/>
                <a:gd name="connsiteY395" fmla="*/ 2638665 h 4801077"/>
                <a:gd name="connsiteX396" fmla="*/ 9025332 w 9559421"/>
                <a:gd name="connsiteY396" fmla="*/ 2650649 h 4801077"/>
                <a:gd name="connsiteX397" fmla="*/ 9034712 w 9559421"/>
                <a:gd name="connsiteY397" fmla="*/ 2648565 h 4801077"/>
                <a:gd name="connsiteX398" fmla="*/ 9044612 w 9559421"/>
                <a:gd name="connsiteY398" fmla="*/ 2619385 h 4801077"/>
                <a:gd name="connsiteX399" fmla="*/ 9102450 w 9559421"/>
                <a:gd name="connsiteY399" fmla="*/ 2737146 h 4801077"/>
                <a:gd name="connsiteX400" fmla="*/ 9073271 w 9559421"/>
                <a:gd name="connsiteY400" fmla="*/ 2726724 h 4801077"/>
                <a:gd name="connsiteX401" fmla="*/ 9062328 w 9559421"/>
                <a:gd name="connsiteY401" fmla="*/ 2738709 h 4801077"/>
                <a:gd name="connsiteX402" fmla="*/ 9062849 w 9559421"/>
                <a:gd name="connsiteY402" fmla="*/ 2755904 h 4801077"/>
                <a:gd name="connsiteX403" fmla="*/ 9063891 w 9559421"/>
                <a:gd name="connsiteY403" fmla="*/ 2757467 h 4801077"/>
                <a:gd name="connsiteX404" fmla="*/ 9083170 w 9559421"/>
                <a:gd name="connsiteY404" fmla="*/ 2768410 h 4801077"/>
                <a:gd name="connsiteX405" fmla="*/ 9092550 w 9559421"/>
                <a:gd name="connsiteY405" fmla="*/ 2766325 h 4801077"/>
                <a:gd name="connsiteX406" fmla="*/ 9102450 w 9559421"/>
                <a:gd name="connsiteY406" fmla="*/ 2737146 h 4801077"/>
                <a:gd name="connsiteX407" fmla="*/ 544511 w 9559421"/>
                <a:gd name="connsiteY407" fmla="*/ 2610006 h 4801077"/>
                <a:gd name="connsiteX408" fmla="*/ 515331 w 9559421"/>
                <a:gd name="connsiteY408" fmla="*/ 2619385 h 4801077"/>
                <a:gd name="connsiteX409" fmla="*/ 456972 w 9559421"/>
                <a:gd name="connsiteY409" fmla="*/ 2738188 h 4801077"/>
                <a:gd name="connsiteX410" fmla="*/ 402261 w 9559421"/>
                <a:gd name="connsiteY410" fmla="*/ 2858032 h 4801077"/>
                <a:gd name="connsiteX411" fmla="*/ 413724 w 9559421"/>
                <a:gd name="connsiteY411" fmla="*/ 2886691 h 4801077"/>
                <a:gd name="connsiteX412" fmla="*/ 422582 w 9559421"/>
                <a:gd name="connsiteY412" fmla="*/ 2888254 h 4801077"/>
                <a:gd name="connsiteX413" fmla="*/ 442383 w 9559421"/>
                <a:gd name="connsiteY413" fmla="*/ 2875227 h 4801077"/>
                <a:gd name="connsiteX414" fmla="*/ 496573 w 9559421"/>
                <a:gd name="connsiteY414" fmla="*/ 2755904 h 4801077"/>
                <a:gd name="connsiteX415" fmla="*/ 553890 w 9559421"/>
                <a:gd name="connsiteY415" fmla="*/ 2638665 h 4801077"/>
                <a:gd name="connsiteX416" fmla="*/ 544511 w 9559421"/>
                <a:gd name="connsiteY416" fmla="*/ 2610006 h 4801077"/>
                <a:gd name="connsiteX417" fmla="*/ 378813 w 9559421"/>
                <a:gd name="connsiteY417" fmla="*/ 2967977 h 4801077"/>
                <a:gd name="connsiteX418" fmla="*/ 352239 w 9559421"/>
                <a:gd name="connsiteY418" fmla="*/ 2977356 h 4801077"/>
                <a:gd name="connsiteX419" fmla="*/ 351718 w 9559421"/>
                <a:gd name="connsiteY419" fmla="*/ 2976835 h 4801077"/>
                <a:gd name="connsiteX420" fmla="*/ 350154 w 9559421"/>
                <a:gd name="connsiteY420" fmla="*/ 2979961 h 4801077"/>
                <a:gd name="connsiteX421" fmla="*/ 362139 w 9559421"/>
                <a:gd name="connsiteY421" fmla="*/ 3008620 h 4801077"/>
                <a:gd name="connsiteX422" fmla="*/ 369955 w 9559421"/>
                <a:gd name="connsiteY422" fmla="*/ 3010183 h 4801077"/>
                <a:gd name="connsiteX423" fmla="*/ 390276 w 9559421"/>
                <a:gd name="connsiteY423" fmla="*/ 2996635 h 4801077"/>
                <a:gd name="connsiteX424" fmla="*/ 378813 w 9559421"/>
                <a:gd name="connsiteY424" fmla="*/ 2967977 h 4801077"/>
                <a:gd name="connsiteX425" fmla="*/ 9256164 w 9559421"/>
                <a:gd name="connsiteY425" fmla="*/ 3100327 h 4801077"/>
                <a:gd name="connsiteX426" fmla="*/ 9208226 w 9559421"/>
                <a:gd name="connsiteY426" fmla="*/ 2977877 h 4801077"/>
                <a:gd name="connsiteX427" fmla="*/ 9156640 w 9559421"/>
                <a:gd name="connsiteY427" fmla="*/ 2856990 h 4801077"/>
                <a:gd name="connsiteX428" fmla="*/ 9127982 w 9559421"/>
                <a:gd name="connsiteY428" fmla="*/ 2846048 h 4801077"/>
                <a:gd name="connsiteX429" fmla="*/ 9117040 w 9559421"/>
                <a:gd name="connsiteY429" fmla="*/ 2874706 h 4801077"/>
                <a:gd name="connsiteX430" fmla="*/ 9167583 w 9559421"/>
                <a:gd name="connsiteY430" fmla="*/ 2994551 h 4801077"/>
                <a:gd name="connsiteX431" fmla="*/ 9215521 w 9559421"/>
                <a:gd name="connsiteY431" fmla="*/ 3115959 h 4801077"/>
                <a:gd name="connsiteX432" fmla="*/ 9235321 w 9559421"/>
                <a:gd name="connsiteY432" fmla="*/ 3130549 h 4801077"/>
                <a:gd name="connsiteX433" fmla="*/ 9243137 w 9559421"/>
                <a:gd name="connsiteY433" fmla="*/ 3128985 h 4801077"/>
                <a:gd name="connsiteX434" fmla="*/ 9256164 w 9559421"/>
                <a:gd name="connsiteY434" fmla="*/ 3100327 h 4801077"/>
                <a:gd name="connsiteX435" fmla="*/ 9300975 w 9559421"/>
                <a:gd name="connsiteY435" fmla="*/ 3224340 h 4801077"/>
                <a:gd name="connsiteX436" fmla="*/ 9273359 w 9559421"/>
                <a:gd name="connsiteY436" fmla="*/ 3210792 h 4801077"/>
                <a:gd name="connsiteX437" fmla="*/ 9260853 w 9559421"/>
                <a:gd name="connsiteY437" fmla="*/ 3221735 h 4801077"/>
                <a:gd name="connsiteX438" fmla="*/ 9259811 w 9559421"/>
                <a:gd name="connsiteY438" fmla="*/ 3238930 h 4801077"/>
                <a:gd name="connsiteX439" fmla="*/ 9280132 w 9559421"/>
                <a:gd name="connsiteY439" fmla="*/ 3253519 h 4801077"/>
                <a:gd name="connsiteX440" fmla="*/ 9286906 w 9559421"/>
                <a:gd name="connsiteY440" fmla="*/ 3252477 h 4801077"/>
                <a:gd name="connsiteX441" fmla="*/ 9299412 w 9559421"/>
                <a:gd name="connsiteY441" fmla="*/ 3241014 h 4801077"/>
                <a:gd name="connsiteX442" fmla="*/ 9300975 w 9559421"/>
                <a:gd name="connsiteY442" fmla="*/ 3224340 h 4801077"/>
                <a:gd name="connsiteX443" fmla="*/ 342859 w 9559421"/>
                <a:gd name="connsiteY443" fmla="*/ 3101369 h 4801077"/>
                <a:gd name="connsiteX444" fmla="*/ 330875 w 9559421"/>
                <a:gd name="connsiteY444" fmla="*/ 3089905 h 4801077"/>
                <a:gd name="connsiteX445" fmla="*/ 303259 w 9559421"/>
                <a:gd name="connsiteY445" fmla="*/ 3102411 h 4801077"/>
                <a:gd name="connsiteX446" fmla="*/ 258447 w 9559421"/>
                <a:gd name="connsiteY446" fmla="*/ 3226945 h 4801077"/>
                <a:gd name="connsiteX447" fmla="*/ 257926 w 9559421"/>
                <a:gd name="connsiteY447" fmla="*/ 3227987 h 4801077"/>
                <a:gd name="connsiteX448" fmla="*/ 217283 w 9559421"/>
                <a:gd name="connsiteY448" fmla="*/ 3352521 h 4801077"/>
                <a:gd name="connsiteX449" fmla="*/ 218846 w 9559421"/>
                <a:gd name="connsiteY449" fmla="*/ 3369716 h 4801077"/>
                <a:gd name="connsiteX450" fmla="*/ 231352 w 9559421"/>
                <a:gd name="connsiteY450" fmla="*/ 3380138 h 4801077"/>
                <a:gd name="connsiteX451" fmla="*/ 238126 w 9559421"/>
                <a:gd name="connsiteY451" fmla="*/ 3381180 h 4801077"/>
                <a:gd name="connsiteX452" fmla="*/ 254800 w 9559421"/>
                <a:gd name="connsiteY452" fmla="*/ 3373885 h 4801077"/>
                <a:gd name="connsiteX453" fmla="*/ 254800 w 9559421"/>
                <a:gd name="connsiteY453" fmla="*/ 3380138 h 4801077"/>
                <a:gd name="connsiteX454" fmla="*/ 258968 w 9559421"/>
                <a:gd name="connsiteY454" fmla="*/ 3366069 h 4801077"/>
                <a:gd name="connsiteX455" fmla="*/ 299611 w 9559421"/>
                <a:gd name="connsiteY455" fmla="*/ 3241535 h 4801077"/>
                <a:gd name="connsiteX456" fmla="*/ 343381 w 9559421"/>
                <a:gd name="connsiteY456" fmla="*/ 3118564 h 4801077"/>
                <a:gd name="connsiteX457" fmla="*/ 342859 w 9559421"/>
                <a:gd name="connsiteY457" fmla="*/ 3101369 h 4801077"/>
                <a:gd name="connsiteX458" fmla="*/ 219368 w 9559421"/>
                <a:gd name="connsiteY458" fmla="*/ 3474450 h 4801077"/>
                <a:gd name="connsiteX459" fmla="*/ 206341 w 9559421"/>
                <a:gd name="connsiteY459" fmla="*/ 3464029 h 4801077"/>
                <a:gd name="connsiteX460" fmla="*/ 179246 w 9559421"/>
                <a:gd name="connsiteY460" fmla="*/ 3479140 h 4801077"/>
                <a:gd name="connsiteX461" fmla="*/ 181330 w 9559421"/>
                <a:gd name="connsiteY461" fmla="*/ 3495814 h 4801077"/>
                <a:gd name="connsiteX462" fmla="*/ 194357 w 9559421"/>
                <a:gd name="connsiteY462" fmla="*/ 3506235 h 4801077"/>
                <a:gd name="connsiteX463" fmla="*/ 200088 w 9559421"/>
                <a:gd name="connsiteY463" fmla="*/ 3506756 h 4801077"/>
                <a:gd name="connsiteX464" fmla="*/ 221452 w 9559421"/>
                <a:gd name="connsiteY464" fmla="*/ 3491124 h 4801077"/>
                <a:gd name="connsiteX465" fmla="*/ 221973 w 9559421"/>
                <a:gd name="connsiteY465" fmla="*/ 3487998 h 4801077"/>
                <a:gd name="connsiteX466" fmla="*/ 219368 w 9559421"/>
                <a:gd name="connsiteY466" fmla="*/ 3474450 h 4801077"/>
                <a:gd name="connsiteX467" fmla="*/ 9413525 w 9559421"/>
                <a:gd name="connsiteY467" fmla="*/ 3602632 h 4801077"/>
                <a:gd name="connsiteX468" fmla="*/ 9379655 w 9559421"/>
                <a:gd name="connsiteY468" fmla="*/ 3475492 h 4801077"/>
                <a:gd name="connsiteX469" fmla="*/ 9341618 w 9559421"/>
                <a:gd name="connsiteY469" fmla="*/ 3349395 h 4801077"/>
                <a:gd name="connsiteX470" fmla="*/ 9314002 w 9559421"/>
                <a:gd name="connsiteY470" fmla="*/ 3334805 h 4801077"/>
                <a:gd name="connsiteX471" fmla="*/ 9301496 w 9559421"/>
                <a:gd name="connsiteY471" fmla="*/ 3345226 h 4801077"/>
                <a:gd name="connsiteX472" fmla="*/ 9299933 w 9559421"/>
                <a:gd name="connsiteY472" fmla="*/ 3361900 h 4801077"/>
                <a:gd name="connsiteX473" fmla="*/ 9336929 w 9559421"/>
                <a:gd name="connsiteY473" fmla="*/ 3486956 h 4801077"/>
                <a:gd name="connsiteX474" fmla="*/ 9370797 w 9559421"/>
                <a:gd name="connsiteY474" fmla="*/ 3613053 h 4801077"/>
                <a:gd name="connsiteX475" fmla="*/ 9391640 w 9559421"/>
                <a:gd name="connsiteY475" fmla="*/ 3629206 h 4801077"/>
                <a:gd name="connsiteX476" fmla="*/ 9397371 w 9559421"/>
                <a:gd name="connsiteY476" fmla="*/ 3628685 h 4801077"/>
                <a:gd name="connsiteX477" fmla="*/ 9413525 w 9559421"/>
                <a:gd name="connsiteY477" fmla="*/ 3602632 h 4801077"/>
                <a:gd name="connsiteX478" fmla="*/ 9443747 w 9559421"/>
                <a:gd name="connsiteY478" fmla="*/ 3730292 h 4801077"/>
                <a:gd name="connsiteX479" fmla="*/ 9439578 w 9559421"/>
                <a:gd name="connsiteY479" fmla="*/ 3711013 h 4801077"/>
                <a:gd name="connsiteX480" fmla="*/ 9439578 w 9559421"/>
                <a:gd name="connsiteY480" fmla="*/ 3721434 h 4801077"/>
                <a:gd name="connsiteX481" fmla="*/ 9417694 w 9559421"/>
                <a:gd name="connsiteY481" fmla="*/ 3714139 h 4801077"/>
                <a:gd name="connsiteX482" fmla="*/ 9404145 w 9559421"/>
                <a:gd name="connsiteY482" fmla="*/ 3723518 h 4801077"/>
                <a:gd name="connsiteX483" fmla="*/ 9401019 w 9559421"/>
                <a:gd name="connsiteY483" fmla="*/ 3737066 h 4801077"/>
                <a:gd name="connsiteX484" fmla="*/ 9400498 w 9559421"/>
                <a:gd name="connsiteY484" fmla="*/ 3737066 h 4801077"/>
                <a:gd name="connsiteX485" fmla="*/ 9401019 w 9559421"/>
                <a:gd name="connsiteY485" fmla="*/ 3739671 h 4801077"/>
                <a:gd name="connsiteX486" fmla="*/ 9422383 w 9559421"/>
                <a:gd name="connsiteY486" fmla="*/ 3756866 h 4801077"/>
                <a:gd name="connsiteX487" fmla="*/ 9427072 w 9559421"/>
                <a:gd name="connsiteY487" fmla="*/ 3756345 h 4801077"/>
                <a:gd name="connsiteX488" fmla="*/ 9443747 w 9559421"/>
                <a:gd name="connsiteY488" fmla="*/ 3730292 h 4801077"/>
                <a:gd name="connsiteX489" fmla="*/ 185498 w 9559421"/>
                <a:gd name="connsiteY489" fmla="*/ 3600547 h 4801077"/>
                <a:gd name="connsiteX490" fmla="*/ 171951 w 9559421"/>
                <a:gd name="connsiteY490" fmla="*/ 3590648 h 4801077"/>
                <a:gd name="connsiteX491" fmla="*/ 145377 w 9559421"/>
                <a:gd name="connsiteY491" fmla="*/ 3606279 h 4801077"/>
                <a:gd name="connsiteX492" fmla="*/ 115155 w 9559421"/>
                <a:gd name="connsiteY492" fmla="*/ 3734461 h 4801077"/>
                <a:gd name="connsiteX493" fmla="*/ 88060 w 9559421"/>
                <a:gd name="connsiteY493" fmla="*/ 3863163 h 4801077"/>
                <a:gd name="connsiteX494" fmla="*/ 91707 w 9559421"/>
                <a:gd name="connsiteY494" fmla="*/ 3879316 h 4801077"/>
                <a:gd name="connsiteX495" fmla="*/ 105776 w 9559421"/>
                <a:gd name="connsiteY495" fmla="*/ 3888695 h 4801077"/>
                <a:gd name="connsiteX496" fmla="*/ 109944 w 9559421"/>
                <a:gd name="connsiteY496" fmla="*/ 3889217 h 4801077"/>
                <a:gd name="connsiteX497" fmla="*/ 131308 w 9559421"/>
                <a:gd name="connsiteY497" fmla="*/ 3871501 h 4801077"/>
                <a:gd name="connsiteX498" fmla="*/ 158403 w 9559421"/>
                <a:gd name="connsiteY498" fmla="*/ 3743840 h 4801077"/>
                <a:gd name="connsiteX499" fmla="*/ 188625 w 9559421"/>
                <a:gd name="connsiteY499" fmla="*/ 3617221 h 4801077"/>
                <a:gd name="connsiteX500" fmla="*/ 185498 w 9559421"/>
                <a:gd name="connsiteY500" fmla="*/ 3600547 h 4801077"/>
                <a:gd name="connsiteX501" fmla="*/ 104213 w 9559421"/>
                <a:gd name="connsiteY501" fmla="*/ 3983529 h 4801077"/>
                <a:gd name="connsiteX502" fmla="*/ 89623 w 9559421"/>
                <a:gd name="connsiteY502" fmla="*/ 3974671 h 4801077"/>
                <a:gd name="connsiteX503" fmla="*/ 64612 w 9559421"/>
                <a:gd name="connsiteY503" fmla="*/ 3992387 h 4801077"/>
                <a:gd name="connsiteX504" fmla="*/ 68259 w 9559421"/>
                <a:gd name="connsiteY504" fmla="*/ 4008540 h 4801077"/>
                <a:gd name="connsiteX505" fmla="*/ 82849 w 9559421"/>
                <a:gd name="connsiteY505" fmla="*/ 4017398 h 4801077"/>
                <a:gd name="connsiteX506" fmla="*/ 86496 w 9559421"/>
                <a:gd name="connsiteY506" fmla="*/ 4017919 h 4801077"/>
                <a:gd name="connsiteX507" fmla="*/ 107860 w 9559421"/>
                <a:gd name="connsiteY507" fmla="*/ 3999682 h 4801077"/>
                <a:gd name="connsiteX508" fmla="*/ 108381 w 9559421"/>
                <a:gd name="connsiteY508" fmla="*/ 3997077 h 4801077"/>
                <a:gd name="connsiteX509" fmla="*/ 104213 w 9559421"/>
                <a:gd name="connsiteY509" fmla="*/ 3983529 h 4801077"/>
                <a:gd name="connsiteX510" fmla="*/ 9494289 w 9559421"/>
                <a:gd name="connsiteY510" fmla="*/ 3989261 h 4801077"/>
                <a:gd name="connsiteX511" fmla="*/ 9470841 w 9559421"/>
                <a:gd name="connsiteY511" fmla="*/ 3859516 h 4801077"/>
                <a:gd name="connsiteX512" fmla="*/ 9445310 w 9559421"/>
                <a:gd name="connsiteY512" fmla="*/ 3842321 h 4801077"/>
                <a:gd name="connsiteX513" fmla="*/ 9431762 w 9559421"/>
                <a:gd name="connsiteY513" fmla="*/ 3851700 h 4801077"/>
                <a:gd name="connsiteX514" fmla="*/ 9427593 w 9559421"/>
                <a:gd name="connsiteY514" fmla="*/ 3863685 h 4801077"/>
                <a:gd name="connsiteX515" fmla="*/ 9427593 w 9559421"/>
                <a:gd name="connsiteY515" fmla="*/ 3865248 h 4801077"/>
                <a:gd name="connsiteX516" fmla="*/ 9428115 w 9559421"/>
                <a:gd name="connsiteY516" fmla="*/ 3867853 h 4801077"/>
                <a:gd name="connsiteX517" fmla="*/ 9451042 w 9559421"/>
                <a:gd name="connsiteY517" fmla="*/ 3993950 h 4801077"/>
                <a:gd name="connsiteX518" fmla="*/ 9451042 w 9559421"/>
                <a:gd name="connsiteY518" fmla="*/ 3996035 h 4801077"/>
                <a:gd name="connsiteX519" fmla="*/ 9451562 w 9559421"/>
                <a:gd name="connsiteY519" fmla="*/ 3997077 h 4801077"/>
                <a:gd name="connsiteX520" fmla="*/ 9470841 w 9559421"/>
                <a:gd name="connsiteY520" fmla="*/ 4125258 h 4801077"/>
                <a:gd name="connsiteX521" fmla="*/ 9492726 w 9559421"/>
                <a:gd name="connsiteY521" fmla="*/ 4144017 h 4801077"/>
                <a:gd name="connsiteX522" fmla="*/ 9495853 w 9559421"/>
                <a:gd name="connsiteY522" fmla="*/ 4143495 h 4801077"/>
                <a:gd name="connsiteX523" fmla="*/ 9514090 w 9559421"/>
                <a:gd name="connsiteY523" fmla="*/ 4119006 h 4801077"/>
                <a:gd name="connsiteX524" fmla="*/ 9494289 w 9559421"/>
                <a:gd name="connsiteY524" fmla="*/ 3989261 h 4801077"/>
                <a:gd name="connsiteX525" fmla="*/ 9506274 w 9559421"/>
                <a:gd name="connsiteY525" fmla="*/ 4231034 h 4801077"/>
                <a:gd name="connsiteX526" fmla="*/ 9486994 w 9559421"/>
                <a:gd name="connsiteY526" fmla="*/ 4255003 h 4801077"/>
                <a:gd name="connsiteX527" fmla="*/ 9508880 w 9559421"/>
                <a:gd name="connsiteY527" fmla="*/ 4274804 h 4801077"/>
                <a:gd name="connsiteX528" fmla="*/ 9510963 w 9559421"/>
                <a:gd name="connsiteY528" fmla="*/ 4274804 h 4801077"/>
                <a:gd name="connsiteX529" fmla="*/ 9530764 w 9559421"/>
                <a:gd name="connsiteY529" fmla="*/ 4250314 h 4801077"/>
                <a:gd name="connsiteX530" fmla="*/ 9506274 w 9559421"/>
                <a:gd name="connsiteY530" fmla="*/ 4231034 h 4801077"/>
                <a:gd name="connsiteX531" fmla="*/ 69822 w 9559421"/>
                <a:gd name="connsiteY531" fmla="*/ 4104416 h 4801077"/>
                <a:gd name="connsiteX532" fmla="*/ 44811 w 9559421"/>
                <a:gd name="connsiteY532" fmla="*/ 4122653 h 4801077"/>
                <a:gd name="connsiteX533" fmla="*/ 28658 w 9559421"/>
                <a:gd name="connsiteY533" fmla="*/ 4253440 h 4801077"/>
                <a:gd name="connsiteX534" fmla="*/ 16674 w 9559421"/>
                <a:gd name="connsiteY534" fmla="*/ 4384227 h 4801077"/>
                <a:gd name="connsiteX535" fmla="*/ 21364 w 9559421"/>
                <a:gd name="connsiteY535" fmla="*/ 4399859 h 4801077"/>
                <a:gd name="connsiteX536" fmla="*/ 35953 w 9559421"/>
                <a:gd name="connsiteY536" fmla="*/ 4407675 h 4801077"/>
                <a:gd name="connsiteX537" fmla="*/ 37517 w 9559421"/>
                <a:gd name="connsiteY537" fmla="*/ 4407675 h 4801077"/>
                <a:gd name="connsiteX538" fmla="*/ 59401 w 9559421"/>
                <a:gd name="connsiteY538" fmla="*/ 4387874 h 4801077"/>
                <a:gd name="connsiteX539" fmla="*/ 71907 w 9559421"/>
                <a:gd name="connsiteY539" fmla="*/ 4258130 h 4801077"/>
                <a:gd name="connsiteX540" fmla="*/ 87539 w 9559421"/>
                <a:gd name="connsiteY540" fmla="*/ 4128385 h 4801077"/>
                <a:gd name="connsiteX541" fmla="*/ 69822 w 9559421"/>
                <a:gd name="connsiteY541" fmla="*/ 4104416 h 4801077"/>
                <a:gd name="connsiteX542" fmla="*/ 30222 w 9559421"/>
                <a:gd name="connsiteY542" fmla="*/ 4495734 h 4801077"/>
                <a:gd name="connsiteX543" fmla="*/ 7295 w 9559421"/>
                <a:gd name="connsiteY543" fmla="*/ 4516056 h 4801077"/>
                <a:gd name="connsiteX544" fmla="*/ 27616 w 9559421"/>
                <a:gd name="connsiteY544" fmla="*/ 4538983 h 4801077"/>
                <a:gd name="connsiteX545" fmla="*/ 29180 w 9559421"/>
                <a:gd name="connsiteY545" fmla="*/ 4538983 h 4801077"/>
                <a:gd name="connsiteX546" fmla="*/ 51064 w 9559421"/>
                <a:gd name="connsiteY546" fmla="*/ 4518140 h 4801077"/>
                <a:gd name="connsiteX547" fmla="*/ 30222 w 9559421"/>
                <a:gd name="connsiteY547" fmla="*/ 4495734 h 4801077"/>
                <a:gd name="connsiteX548" fmla="*/ 9552127 w 9559421"/>
                <a:gd name="connsiteY548" fmla="*/ 4512930 h 4801077"/>
                <a:gd name="connsiteX549" fmla="*/ 9542748 w 9559421"/>
                <a:gd name="connsiteY549" fmla="*/ 4381621 h 4801077"/>
                <a:gd name="connsiteX550" fmla="*/ 9519301 w 9559421"/>
                <a:gd name="connsiteY550" fmla="*/ 4361821 h 4801077"/>
                <a:gd name="connsiteX551" fmla="*/ 9504711 w 9559421"/>
                <a:gd name="connsiteY551" fmla="*/ 4369116 h 4801077"/>
                <a:gd name="connsiteX552" fmla="*/ 9499500 w 9559421"/>
                <a:gd name="connsiteY552" fmla="*/ 4385269 h 4801077"/>
                <a:gd name="connsiteX553" fmla="*/ 9508880 w 9559421"/>
                <a:gd name="connsiteY553" fmla="*/ 4515535 h 4801077"/>
                <a:gd name="connsiteX554" fmla="*/ 9514090 w 9559421"/>
                <a:gd name="connsiteY554" fmla="*/ 4645801 h 4801077"/>
                <a:gd name="connsiteX555" fmla="*/ 9535974 w 9559421"/>
                <a:gd name="connsiteY555" fmla="*/ 4666643 h 4801077"/>
                <a:gd name="connsiteX556" fmla="*/ 9537017 w 9559421"/>
                <a:gd name="connsiteY556" fmla="*/ 4666643 h 4801077"/>
                <a:gd name="connsiteX557" fmla="*/ 9557859 w 9559421"/>
                <a:gd name="connsiteY557" fmla="*/ 4644237 h 4801077"/>
                <a:gd name="connsiteX558" fmla="*/ 9552127 w 9559421"/>
                <a:gd name="connsiteY558" fmla="*/ 4512930 h 4801077"/>
                <a:gd name="connsiteX559" fmla="*/ 9537537 w 9559421"/>
                <a:gd name="connsiteY559" fmla="*/ 4754182 h 4801077"/>
                <a:gd name="connsiteX560" fmla="*/ 9515653 w 9559421"/>
                <a:gd name="connsiteY560" fmla="*/ 4776067 h 4801077"/>
                <a:gd name="connsiteX561" fmla="*/ 9515653 w 9559421"/>
                <a:gd name="connsiteY561" fmla="*/ 4777109 h 4801077"/>
                <a:gd name="connsiteX562" fmla="*/ 9537537 w 9559421"/>
                <a:gd name="connsiteY562" fmla="*/ 4797951 h 4801077"/>
                <a:gd name="connsiteX563" fmla="*/ 9559422 w 9559421"/>
                <a:gd name="connsiteY563" fmla="*/ 4778151 h 4801077"/>
                <a:gd name="connsiteX564" fmla="*/ 9559422 w 9559421"/>
                <a:gd name="connsiteY564" fmla="*/ 4776067 h 4801077"/>
                <a:gd name="connsiteX565" fmla="*/ 9537537 w 9559421"/>
                <a:gd name="connsiteY565" fmla="*/ 4754182 h 4801077"/>
                <a:gd name="connsiteX566" fmla="*/ 24490 w 9559421"/>
                <a:gd name="connsiteY566" fmla="*/ 4626521 h 4801077"/>
                <a:gd name="connsiteX567" fmla="*/ 24490 w 9559421"/>
                <a:gd name="connsiteY567" fmla="*/ 4626521 h 4801077"/>
                <a:gd name="connsiteX568" fmla="*/ 2084 w 9559421"/>
                <a:gd name="connsiteY568" fmla="*/ 4647364 h 4801077"/>
                <a:gd name="connsiteX569" fmla="*/ 521 w 9559421"/>
                <a:gd name="connsiteY569" fmla="*/ 4717707 h 4801077"/>
                <a:gd name="connsiteX570" fmla="*/ 0 w 9559421"/>
                <a:gd name="connsiteY570" fmla="*/ 4779193 h 4801077"/>
                <a:gd name="connsiteX571" fmla="*/ 21885 w 9559421"/>
                <a:gd name="connsiteY571" fmla="*/ 4801077 h 4801077"/>
                <a:gd name="connsiteX572" fmla="*/ 43769 w 9559421"/>
                <a:gd name="connsiteY572" fmla="*/ 4779193 h 4801077"/>
                <a:gd name="connsiteX573" fmla="*/ 44290 w 9559421"/>
                <a:gd name="connsiteY573" fmla="*/ 4718229 h 4801077"/>
                <a:gd name="connsiteX574" fmla="*/ 45854 w 9559421"/>
                <a:gd name="connsiteY574" fmla="*/ 4648406 h 4801077"/>
                <a:gd name="connsiteX575" fmla="*/ 24490 w 9559421"/>
                <a:gd name="connsiteY575" fmla="*/ 4626521 h 480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Lst>
              <a:rect l="l" t="t" r="r" b="b"/>
              <a:pathLst>
                <a:path w="9559421" h="4801077">
                  <a:moveTo>
                    <a:pt x="4924567" y="8337"/>
                  </a:moveTo>
                  <a:cubicBezTo>
                    <a:pt x="4921962" y="5732"/>
                    <a:pt x="4918835" y="3647"/>
                    <a:pt x="4915188" y="2605"/>
                  </a:cubicBezTo>
                  <a:lnTo>
                    <a:pt x="4916751" y="1563"/>
                  </a:lnTo>
                  <a:lnTo>
                    <a:pt x="4909456" y="1042"/>
                  </a:lnTo>
                  <a:cubicBezTo>
                    <a:pt x="4897472" y="1042"/>
                    <a:pt x="4888092" y="10421"/>
                    <a:pt x="4887571" y="22406"/>
                  </a:cubicBezTo>
                  <a:cubicBezTo>
                    <a:pt x="4887051" y="34390"/>
                    <a:pt x="4896950" y="44811"/>
                    <a:pt x="4908414" y="44811"/>
                  </a:cubicBezTo>
                  <a:lnTo>
                    <a:pt x="4909456" y="44811"/>
                  </a:lnTo>
                  <a:cubicBezTo>
                    <a:pt x="4921440" y="44811"/>
                    <a:pt x="4930820" y="35432"/>
                    <a:pt x="4931341" y="23448"/>
                  </a:cubicBezTo>
                  <a:cubicBezTo>
                    <a:pt x="4930820" y="17716"/>
                    <a:pt x="4928735" y="12506"/>
                    <a:pt x="4924567" y="8337"/>
                  </a:cubicBezTo>
                  <a:close/>
                  <a:moveTo>
                    <a:pt x="4778148" y="0"/>
                  </a:moveTo>
                  <a:cubicBezTo>
                    <a:pt x="4735942" y="0"/>
                    <a:pt x="4692173" y="521"/>
                    <a:pt x="4646319" y="1563"/>
                  </a:cubicBezTo>
                  <a:cubicBezTo>
                    <a:pt x="4604634" y="2605"/>
                    <a:pt x="4560344" y="4690"/>
                    <a:pt x="4515012" y="6774"/>
                  </a:cubicBezTo>
                  <a:cubicBezTo>
                    <a:pt x="4508759" y="7295"/>
                    <a:pt x="4503548" y="9900"/>
                    <a:pt x="4499901" y="14069"/>
                  </a:cubicBezTo>
                  <a:cubicBezTo>
                    <a:pt x="4495732" y="18237"/>
                    <a:pt x="4494169" y="23448"/>
                    <a:pt x="4494690" y="29701"/>
                  </a:cubicBezTo>
                  <a:cubicBezTo>
                    <a:pt x="4495211" y="41164"/>
                    <a:pt x="4504590" y="50022"/>
                    <a:pt x="4516054" y="50022"/>
                  </a:cubicBezTo>
                  <a:lnTo>
                    <a:pt x="4517617" y="50022"/>
                  </a:lnTo>
                  <a:cubicBezTo>
                    <a:pt x="4559302" y="47938"/>
                    <a:pt x="4603071" y="45854"/>
                    <a:pt x="4647882" y="44811"/>
                  </a:cubicBezTo>
                  <a:cubicBezTo>
                    <a:pt x="4692694" y="43248"/>
                    <a:pt x="4736463" y="43248"/>
                    <a:pt x="4778148" y="43248"/>
                  </a:cubicBezTo>
                  <a:cubicBezTo>
                    <a:pt x="4790133" y="43248"/>
                    <a:pt x="4800033" y="33348"/>
                    <a:pt x="4800033" y="21364"/>
                  </a:cubicBezTo>
                  <a:cubicBezTo>
                    <a:pt x="4800033" y="9379"/>
                    <a:pt x="4789612" y="0"/>
                    <a:pt x="4778148" y="0"/>
                  </a:cubicBezTo>
                  <a:close/>
                  <a:moveTo>
                    <a:pt x="4383703" y="16153"/>
                  </a:moveTo>
                  <a:lnTo>
                    <a:pt x="4379535" y="16674"/>
                  </a:lnTo>
                  <a:cubicBezTo>
                    <a:pt x="4375367" y="18237"/>
                    <a:pt x="4371198" y="20843"/>
                    <a:pt x="4368593" y="23448"/>
                  </a:cubicBezTo>
                  <a:cubicBezTo>
                    <a:pt x="4364424" y="28137"/>
                    <a:pt x="4362861" y="33869"/>
                    <a:pt x="4363382" y="39601"/>
                  </a:cubicBezTo>
                  <a:cubicBezTo>
                    <a:pt x="4364424" y="51064"/>
                    <a:pt x="4374324" y="58880"/>
                    <a:pt x="4385788" y="59401"/>
                  </a:cubicBezTo>
                  <a:lnTo>
                    <a:pt x="4387351" y="59401"/>
                  </a:lnTo>
                  <a:cubicBezTo>
                    <a:pt x="4399335" y="57838"/>
                    <a:pt x="4408193" y="47417"/>
                    <a:pt x="4407152" y="35953"/>
                  </a:cubicBezTo>
                  <a:cubicBezTo>
                    <a:pt x="4405588" y="23969"/>
                    <a:pt x="4396209" y="15111"/>
                    <a:pt x="4383703" y="16153"/>
                  </a:cubicBezTo>
                  <a:close/>
                  <a:moveTo>
                    <a:pt x="5303380" y="28137"/>
                  </a:moveTo>
                  <a:cubicBezTo>
                    <a:pt x="5257005" y="22927"/>
                    <a:pt x="5214278" y="18758"/>
                    <a:pt x="5172593" y="15632"/>
                  </a:cubicBezTo>
                  <a:cubicBezTo>
                    <a:pt x="5152271" y="14069"/>
                    <a:pt x="5132471" y="12506"/>
                    <a:pt x="5113713" y="11463"/>
                  </a:cubicBezTo>
                  <a:cubicBezTo>
                    <a:pt x="5088702" y="9900"/>
                    <a:pt x="5064733" y="8337"/>
                    <a:pt x="5041285" y="7295"/>
                  </a:cubicBezTo>
                  <a:cubicBezTo>
                    <a:pt x="5027737" y="6774"/>
                    <a:pt x="5018879" y="16153"/>
                    <a:pt x="5018358" y="27616"/>
                  </a:cubicBezTo>
                  <a:cubicBezTo>
                    <a:pt x="5018358" y="33348"/>
                    <a:pt x="5019921" y="39080"/>
                    <a:pt x="5024090" y="43248"/>
                  </a:cubicBezTo>
                  <a:cubicBezTo>
                    <a:pt x="5028259" y="47417"/>
                    <a:pt x="5033469" y="50022"/>
                    <a:pt x="5038680" y="50022"/>
                  </a:cubicBezTo>
                  <a:cubicBezTo>
                    <a:pt x="5084012" y="52627"/>
                    <a:pt x="5127261" y="55754"/>
                    <a:pt x="5168945" y="59401"/>
                  </a:cubicBezTo>
                  <a:cubicBezTo>
                    <a:pt x="5178846" y="60443"/>
                    <a:pt x="5189267" y="60964"/>
                    <a:pt x="5199167" y="62007"/>
                  </a:cubicBezTo>
                  <a:cubicBezTo>
                    <a:pt x="5232515" y="65133"/>
                    <a:pt x="5265863" y="68259"/>
                    <a:pt x="5298169" y="71386"/>
                  </a:cubicBezTo>
                  <a:cubicBezTo>
                    <a:pt x="5299211" y="71386"/>
                    <a:pt x="5299732" y="71907"/>
                    <a:pt x="5300774" y="71907"/>
                  </a:cubicBezTo>
                  <a:cubicBezTo>
                    <a:pt x="5311717" y="71907"/>
                    <a:pt x="5321096" y="63049"/>
                    <a:pt x="5322138" y="52106"/>
                  </a:cubicBezTo>
                  <a:cubicBezTo>
                    <a:pt x="5324222" y="40643"/>
                    <a:pt x="5315364" y="29701"/>
                    <a:pt x="5303380" y="28137"/>
                  </a:cubicBezTo>
                  <a:close/>
                  <a:moveTo>
                    <a:pt x="5448756" y="52627"/>
                  </a:moveTo>
                  <a:cubicBezTo>
                    <a:pt x="5445109" y="47938"/>
                    <a:pt x="5439898" y="45333"/>
                    <a:pt x="5434167" y="44290"/>
                  </a:cubicBezTo>
                  <a:cubicBezTo>
                    <a:pt x="5422182" y="42727"/>
                    <a:pt x="5411240" y="51064"/>
                    <a:pt x="5409156" y="63049"/>
                  </a:cubicBezTo>
                  <a:cubicBezTo>
                    <a:pt x="5407592" y="75033"/>
                    <a:pt x="5415929" y="85454"/>
                    <a:pt x="5427914" y="87539"/>
                  </a:cubicBezTo>
                  <a:lnTo>
                    <a:pt x="5431040" y="87539"/>
                  </a:lnTo>
                  <a:cubicBezTo>
                    <a:pt x="5441982" y="87539"/>
                    <a:pt x="5450841" y="79723"/>
                    <a:pt x="5452404" y="68780"/>
                  </a:cubicBezTo>
                  <a:cubicBezTo>
                    <a:pt x="5453446" y="63049"/>
                    <a:pt x="5452404" y="57317"/>
                    <a:pt x="5448756" y="52627"/>
                  </a:cubicBezTo>
                  <a:close/>
                  <a:moveTo>
                    <a:pt x="4251875" y="28658"/>
                  </a:moveTo>
                  <a:cubicBezTo>
                    <a:pt x="4205500" y="33869"/>
                    <a:pt x="4162773" y="39080"/>
                    <a:pt x="4121609" y="44811"/>
                  </a:cubicBezTo>
                  <a:cubicBezTo>
                    <a:pt x="4078360" y="51064"/>
                    <a:pt x="4034070" y="57317"/>
                    <a:pt x="3991343" y="64612"/>
                  </a:cubicBezTo>
                  <a:cubicBezTo>
                    <a:pt x="3985090" y="66175"/>
                    <a:pt x="3980401" y="68780"/>
                    <a:pt x="3976753" y="73991"/>
                  </a:cubicBezTo>
                  <a:cubicBezTo>
                    <a:pt x="3973627" y="78681"/>
                    <a:pt x="3972063" y="84412"/>
                    <a:pt x="3973106" y="90144"/>
                  </a:cubicBezTo>
                  <a:cubicBezTo>
                    <a:pt x="3974669" y="100565"/>
                    <a:pt x="3984048" y="108381"/>
                    <a:pt x="3994469" y="108381"/>
                  </a:cubicBezTo>
                  <a:cubicBezTo>
                    <a:pt x="3996032" y="108381"/>
                    <a:pt x="3996553" y="108381"/>
                    <a:pt x="3998117" y="107860"/>
                  </a:cubicBezTo>
                  <a:cubicBezTo>
                    <a:pt x="4038759" y="101086"/>
                    <a:pt x="4080966" y="94834"/>
                    <a:pt x="4127340" y="88060"/>
                  </a:cubicBezTo>
                  <a:cubicBezTo>
                    <a:pt x="4168504" y="82328"/>
                    <a:pt x="4212274" y="76596"/>
                    <a:pt x="4256564" y="71907"/>
                  </a:cubicBezTo>
                  <a:cubicBezTo>
                    <a:pt x="4262817" y="71386"/>
                    <a:pt x="4267507" y="68259"/>
                    <a:pt x="4271154" y="64091"/>
                  </a:cubicBezTo>
                  <a:cubicBezTo>
                    <a:pt x="4274801" y="59401"/>
                    <a:pt x="4276365" y="53670"/>
                    <a:pt x="4275322" y="47938"/>
                  </a:cubicBezTo>
                  <a:cubicBezTo>
                    <a:pt x="4275322" y="35953"/>
                    <a:pt x="4264901" y="27616"/>
                    <a:pt x="4251875" y="28658"/>
                  </a:cubicBezTo>
                  <a:close/>
                  <a:moveTo>
                    <a:pt x="3887130" y="105255"/>
                  </a:moveTo>
                  <a:cubicBezTo>
                    <a:pt x="3885046" y="93270"/>
                    <a:pt x="3873062" y="85454"/>
                    <a:pt x="3862119" y="88060"/>
                  </a:cubicBezTo>
                  <a:cubicBezTo>
                    <a:pt x="3856387" y="89623"/>
                    <a:pt x="3851177" y="92228"/>
                    <a:pt x="3848051" y="97439"/>
                  </a:cubicBezTo>
                  <a:cubicBezTo>
                    <a:pt x="3844403" y="102649"/>
                    <a:pt x="3843882" y="108381"/>
                    <a:pt x="3844403" y="114113"/>
                  </a:cubicBezTo>
                  <a:cubicBezTo>
                    <a:pt x="3846487" y="124013"/>
                    <a:pt x="3855867" y="131308"/>
                    <a:pt x="3865767" y="131308"/>
                  </a:cubicBezTo>
                  <a:cubicBezTo>
                    <a:pt x="3867330" y="131308"/>
                    <a:pt x="3868893" y="131308"/>
                    <a:pt x="3869935" y="130787"/>
                  </a:cubicBezTo>
                  <a:cubicBezTo>
                    <a:pt x="3875667" y="129745"/>
                    <a:pt x="3880357" y="126618"/>
                    <a:pt x="3884004" y="121408"/>
                  </a:cubicBezTo>
                  <a:cubicBezTo>
                    <a:pt x="3887130" y="116718"/>
                    <a:pt x="3888172" y="110986"/>
                    <a:pt x="3887130" y="105255"/>
                  </a:cubicBezTo>
                  <a:close/>
                  <a:moveTo>
                    <a:pt x="5822880" y="114113"/>
                  </a:moveTo>
                  <a:cubicBezTo>
                    <a:pt x="5782237" y="104734"/>
                    <a:pt x="5738988" y="96397"/>
                    <a:pt x="5695219" y="87539"/>
                  </a:cubicBezTo>
                  <a:lnTo>
                    <a:pt x="5694698" y="89623"/>
                  </a:lnTo>
                  <a:lnTo>
                    <a:pt x="5694177" y="87539"/>
                  </a:lnTo>
                  <a:cubicBezTo>
                    <a:pt x="5649887" y="78681"/>
                    <a:pt x="5606117" y="70865"/>
                    <a:pt x="5564432" y="64091"/>
                  </a:cubicBezTo>
                  <a:cubicBezTo>
                    <a:pt x="5552448" y="62007"/>
                    <a:pt x="5541506" y="70344"/>
                    <a:pt x="5539421" y="81807"/>
                  </a:cubicBezTo>
                  <a:cubicBezTo>
                    <a:pt x="5537858" y="87539"/>
                    <a:pt x="5539421" y="93791"/>
                    <a:pt x="5543069" y="97960"/>
                  </a:cubicBezTo>
                  <a:cubicBezTo>
                    <a:pt x="5546716" y="102649"/>
                    <a:pt x="5551406" y="105776"/>
                    <a:pt x="5557658" y="107339"/>
                  </a:cubicBezTo>
                  <a:cubicBezTo>
                    <a:pt x="5599865" y="114113"/>
                    <a:pt x="5643113" y="121929"/>
                    <a:pt x="5685840" y="130266"/>
                  </a:cubicBezTo>
                  <a:cubicBezTo>
                    <a:pt x="5731694" y="139124"/>
                    <a:pt x="5773378" y="147461"/>
                    <a:pt x="5813501" y="156840"/>
                  </a:cubicBezTo>
                  <a:cubicBezTo>
                    <a:pt x="5815064" y="157361"/>
                    <a:pt x="5816627" y="157361"/>
                    <a:pt x="5817669" y="157361"/>
                  </a:cubicBezTo>
                  <a:cubicBezTo>
                    <a:pt x="5827569" y="157361"/>
                    <a:pt x="5836948" y="150587"/>
                    <a:pt x="5839032" y="140166"/>
                  </a:cubicBezTo>
                  <a:cubicBezTo>
                    <a:pt x="5842159" y="128182"/>
                    <a:pt x="5834864" y="116718"/>
                    <a:pt x="5822880" y="114113"/>
                  </a:cubicBezTo>
                  <a:close/>
                  <a:moveTo>
                    <a:pt x="5951582" y="144335"/>
                  </a:moveTo>
                  <a:lnTo>
                    <a:pt x="5950019" y="143813"/>
                  </a:lnTo>
                  <a:cubicBezTo>
                    <a:pt x="5938556" y="141729"/>
                    <a:pt x="5927613" y="149024"/>
                    <a:pt x="5925008" y="159966"/>
                  </a:cubicBezTo>
                  <a:cubicBezTo>
                    <a:pt x="5923445" y="165698"/>
                    <a:pt x="5924487" y="171951"/>
                    <a:pt x="5927613" y="176640"/>
                  </a:cubicBezTo>
                  <a:cubicBezTo>
                    <a:pt x="5929177" y="178725"/>
                    <a:pt x="5930219" y="180809"/>
                    <a:pt x="5932303" y="182372"/>
                  </a:cubicBezTo>
                  <a:lnTo>
                    <a:pt x="5923445" y="182372"/>
                  </a:lnTo>
                  <a:lnTo>
                    <a:pt x="5940640" y="186541"/>
                  </a:lnTo>
                  <a:cubicBezTo>
                    <a:pt x="5942203" y="187062"/>
                    <a:pt x="5944287" y="187062"/>
                    <a:pt x="5945851" y="187062"/>
                  </a:cubicBezTo>
                  <a:cubicBezTo>
                    <a:pt x="5955751" y="187062"/>
                    <a:pt x="5964609" y="180288"/>
                    <a:pt x="5967214" y="170909"/>
                  </a:cubicBezTo>
                  <a:cubicBezTo>
                    <a:pt x="5970341" y="159445"/>
                    <a:pt x="5962525" y="147461"/>
                    <a:pt x="5951582" y="144335"/>
                  </a:cubicBezTo>
                  <a:close/>
                  <a:moveTo>
                    <a:pt x="3758949" y="131308"/>
                  </a:moveTo>
                  <a:cubicBezTo>
                    <a:pt x="3756343" y="119845"/>
                    <a:pt x="3744880" y="112029"/>
                    <a:pt x="3732896" y="114634"/>
                  </a:cubicBezTo>
                  <a:cubicBezTo>
                    <a:pt x="3691732" y="124013"/>
                    <a:pt x="3650046" y="133913"/>
                    <a:pt x="3604714" y="144856"/>
                  </a:cubicBezTo>
                  <a:cubicBezTo>
                    <a:pt x="3563550" y="155277"/>
                    <a:pt x="3520823" y="166740"/>
                    <a:pt x="3477575" y="178725"/>
                  </a:cubicBezTo>
                  <a:cubicBezTo>
                    <a:pt x="3471843" y="180288"/>
                    <a:pt x="3467154" y="183935"/>
                    <a:pt x="3464548" y="189146"/>
                  </a:cubicBezTo>
                  <a:cubicBezTo>
                    <a:pt x="3461422" y="194357"/>
                    <a:pt x="3460901" y="200088"/>
                    <a:pt x="3462464" y="205820"/>
                  </a:cubicBezTo>
                  <a:cubicBezTo>
                    <a:pt x="3465069" y="215199"/>
                    <a:pt x="3473927" y="221452"/>
                    <a:pt x="3483306" y="221452"/>
                  </a:cubicBezTo>
                  <a:cubicBezTo>
                    <a:pt x="3485391" y="221452"/>
                    <a:pt x="3487475" y="221452"/>
                    <a:pt x="3489559" y="220931"/>
                  </a:cubicBezTo>
                  <a:cubicBezTo>
                    <a:pt x="3531765" y="208946"/>
                    <a:pt x="3574493" y="197483"/>
                    <a:pt x="3615657" y="187062"/>
                  </a:cubicBezTo>
                  <a:cubicBezTo>
                    <a:pt x="3656821" y="176640"/>
                    <a:pt x="3699548" y="166740"/>
                    <a:pt x="3742275" y="156840"/>
                  </a:cubicBezTo>
                  <a:cubicBezTo>
                    <a:pt x="3753738" y="154756"/>
                    <a:pt x="3761554" y="143292"/>
                    <a:pt x="3758949" y="131308"/>
                  </a:cubicBezTo>
                  <a:close/>
                  <a:moveTo>
                    <a:pt x="3377010" y="248026"/>
                  </a:moveTo>
                  <a:cubicBezTo>
                    <a:pt x="3379615" y="242815"/>
                    <a:pt x="3380136" y="236563"/>
                    <a:pt x="3378573" y="231352"/>
                  </a:cubicBezTo>
                  <a:cubicBezTo>
                    <a:pt x="3374925" y="219889"/>
                    <a:pt x="3362941" y="213636"/>
                    <a:pt x="3351478" y="216762"/>
                  </a:cubicBezTo>
                  <a:cubicBezTo>
                    <a:pt x="3345746" y="218326"/>
                    <a:pt x="3341056" y="221973"/>
                    <a:pt x="3338451" y="227184"/>
                  </a:cubicBezTo>
                  <a:cubicBezTo>
                    <a:pt x="3335846" y="232394"/>
                    <a:pt x="3335324" y="238647"/>
                    <a:pt x="3336888" y="243858"/>
                  </a:cubicBezTo>
                  <a:cubicBezTo>
                    <a:pt x="3339493" y="253237"/>
                    <a:pt x="3347830" y="258968"/>
                    <a:pt x="3357209" y="258968"/>
                  </a:cubicBezTo>
                  <a:cubicBezTo>
                    <a:pt x="3359814" y="258968"/>
                    <a:pt x="3361899" y="258968"/>
                    <a:pt x="3363983" y="257926"/>
                  </a:cubicBezTo>
                  <a:lnTo>
                    <a:pt x="3377010" y="253758"/>
                  </a:lnTo>
                  <a:lnTo>
                    <a:pt x="3371278" y="253758"/>
                  </a:lnTo>
                  <a:cubicBezTo>
                    <a:pt x="3374404" y="252195"/>
                    <a:pt x="3375968" y="250110"/>
                    <a:pt x="3377010" y="248026"/>
                  </a:cubicBezTo>
                  <a:close/>
                  <a:moveTo>
                    <a:pt x="6330395" y="256884"/>
                  </a:moveTo>
                  <a:cubicBezTo>
                    <a:pt x="6289231" y="242294"/>
                    <a:pt x="6247025" y="228747"/>
                    <a:pt x="6204819" y="215720"/>
                  </a:cubicBezTo>
                  <a:cubicBezTo>
                    <a:pt x="6162613" y="202694"/>
                    <a:pt x="6120407" y="190188"/>
                    <a:pt x="6078721" y="178204"/>
                  </a:cubicBezTo>
                  <a:cubicBezTo>
                    <a:pt x="6067258" y="175077"/>
                    <a:pt x="6055274" y="182372"/>
                    <a:pt x="6051626" y="193314"/>
                  </a:cubicBezTo>
                  <a:cubicBezTo>
                    <a:pt x="6048500" y="204778"/>
                    <a:pt x="6055795" y="216762"/>
                    <a:pt x="6066737" y="219889"/>
                  </a:cubicBezTo>
                  <a:cubicBezTo>
                    <a:pt x="6107380" y="231352"/>
                    <a:pt x="6148544" y="243858"/>
                    <a:pt x="6190229" y="256363"/>
                  </a:cubicBezTo>
                  <a:cubicBezTo>
                    <a:pt x="6190750" y="256884"/>
                    <a:pt x="6191271" y="256884"/>
                    <a:pt x="6191792" y="257405"/>
                  </a:cubicBezTo>
                  <a:lnTo>
                    <a:pt x="6193876" y="257926"/>
                  </a:lnTo>
                  <a:cubicBezTo>
                    <a:pt x="6234520" y="270432"/>
                    <a:pt x="6275683" y="283980"/>
                    <a:pt x="6316326" y="298048"/>
                  </a:cubicBezTo>
                  <a:cubicBezTo>
                    <a:pt x="6318410" y="299090"/>
                    <a:pt x="6320495" y="299611"/>
                    <a:pt x="6323100" y="299611"/>
                  </a:cubicBezTo>
                  <a:cubicBezTo>
                    <a:pt x="6332479" y="299611"/>
                    <a:pt x="6340295" y="293359"/>
                    <a:pt x="6343422" y="285022"/>
                  </a:cubicBezTo>
                  <a:cubicBezTo>
                    <a:pt x="6347590" y="273037"/>
                    <a:pt x="6341858" y="261053"/>
                    <a:pt x="6330395" y="256884"/>
                  </a:cubicBezTo>
                  <a:close/>
                  <a:moveTo>
                    <a:pt x="6466914" y="312638"/>
                  </a:moveTo>
                  <a:cubicBezTo>
                    <a:pt x="6464308" y="307427"/>
                    <a:pt x="6460140" y="303259"/>
                    <a:pt x="6454929" y="301175"/>
                  </a:cubicBezTo>
                  <a:lnTo>
                    <a:pt x="6454408" y="301175"/>
                  </a:lnTo>
                  <a:cubicBezTo>
                    <a:pt x="6443466" y="297006"/>
                    <a:pt x="6430960" y="303259"/>
                    <a:pt x="6426792" y="313680"/>
                  </a:cubicBezTo>
                  <a:cubicBezTo>
                    <a:pt x="6423144" y="322538"/>
                    <a:pt x="6425750" y="331917"/>
                    <a:pt x="6432523" y="337649"/>
                  </a:cubicBezTo>
                  <a:lnTo>
                    <a:pt x="6428355" y="337649"/>
                  </a:lnTo>
                  <a:lnTo>
                    <a:pt x="6439818" y="341818"/>
                  </a:lnTo>
                  <a:cubicBezTo>
                    <a:pt x="6442424" y="342860"/>
                    <a:pt x="6444508" y="343381"/>
                    <a:pt x="6447113" y="343381"/>
                  </a:cubicBezTo>
                  <a:cubicBezTo>
                    <a:pt x="6456492" y="343381"/>
                    <a:pt x="6464308" y="337649"/>
                    <a:pt x="6467434" y="329312"/>
                  </a:cubicBezTo>
                  <a:cubicBezTo>
                    <a:pt x="6469519" y="324101"/>
                    <a:pt x="6469519" y="317849"/>
                    <a:pt x="6466914" y="312638"/>
                  </a:cubicBezTo>
                  <a:close/>
                  <a:moveTo>
                    <a:pt x="3253518" y="271474"/>
                  </a:moveTo>
                  <a:cubicBezTo>
                    <a:pt x="3250391" y="260532"/>
                    <a:pt x="3237365" y="254279"/>
                    <a:pt x="3226422" y="257926"/>
                  </a:cubicBezTo>
                  <a:cubicBezTo>
                    <a:pt x="3184737" y="272516"/>
                    <a:pt x="3143052" y="287106"/>
                    <a:pt x="3102409" y="302217"/>
                  </a:cubicBezTo>
                  <a:cubicBezTo>
                    <a:pt x="3063851" y="316806"/>
                    <a:pt x="3023208" y="332438"/>
                    <a:pt x="2979960" y="350676"/>
                  </a:cubicBezTo>
                  <a:cubicBezTo>
                    <a:pt x="2974749" y="352760"/>
                    <a:pt x="2970580" y="356928"/>
                    <a:pt x="2967975" y="362139"/>
                  </a:cubicBezTo>
                  <a:cubicBezTo>
                    <a:pt x="2965891" y="367871"/>
                    <a:pt x="2965891" y="373602"/>
                    <a:pt x="2967975" y="379334"/>
                  </a:cubicBezTo>
                  <a:cubicBezTo>
                    <a:pt x="2971101" y="387671"/>
                    <a:pt x="2978917" y="392882"/>
                    <a:pt x="2987775" y="392882"/>
                  </a:cubicBezTo>
                  <a:cubicBezTo>
                    <a:pt x="2990381" y="392882"/>
                    <a:pt x="2993507" y="392361"/>
                    <a:pt x="2996113" y="391319"/>
                  </a:cubicBezTo>
                  <a:cubicBezTo>
                    <a:pt x="3039361" y="374123"/>
                    <a:pt x="3078961" y="358492"/>
                    <a:pt x="3117520" y="343902"/>
                  </a:cubicBezTo>
                  <a:cubicBezTo>
                    <a:pt x="3159205" y="328270"/>
                    <a:pt x="3200369" y="313680"/>
                    <a:pt x="3240491" y="300132"/>
                  </a:cubicBezTo>
                  <a:cubicBezTo>
                    <a:pt x="3251433" y="295443"/>
                    <a:pt x="3257686" y="282937"/>
                    <a:pt x="3253518" y="271474"/>
                  </a:cubicBezTo>
                  <a:close/>
                  <a:moveTo>
                    <a:pt x="2887210" y="412682"/>
                  </a:moveTo>
                  <a:cubicBezTo>
                    <a:pt x="2882521" y="401740"/>
                    <a:pt x="2869494" y="396529"/>
                    <a:pt x="2858552" y="401219"/>
                  </a:cubicBezTo>
                  <a:lnTo>
                    <a:pt x="2856989" y="402261"/>
                  </a:lnTo>
                  <a:cubicBezTo>
                    <a:pt x="2852820" y="404345"/>
                    <a:pt x="2848652" y="408514"/>
                    <a:pt x="2847089" y="413724"/>
                  </a:cubicBezTo>
                  <a:cubicBezTo>
                    <a:pt x="2845004" y="418935"/>
                    <a:pt x="2845004" y="425188"/>
                    <a:pt x="2847610" y="430398"/>
                  </a:cubicBezTo>
                  <a:cubicBezTo>
                    <a:pt x="2850736" y="438214"/>
                    <a:pt x="2859073" y="443425"/>
                    <a:pt x="2867410" y="443425"/>
                  </a:cubicBezTo>
                  <a:cubicBezTo>
                    <a:pt x="2870536" y="443425"/>
                    <a:pt x="2873663" y="442383"/>
                    <a:pt x="2876268" y="441862"/>
                  </a:cubicBezTo>
                  <a:cubicBezTo>
                    <a:pt x="2882000" y="439256"/>
                    <a:pt x="2885647" y="435088"/>
                    <a:pt x="2888252" y="429877"/>
                  </a:cubicBezTo>
                  <a:cubicBezTo>
                    <a:pt x="2889816" y="423624"/>
                    <a:pt x="2889816" y="417893"/>
                    <a:pt x="2887210" y="412682"/>
                  </a:cubicBezTo>
                  <a:close/>
                  <a:moveTo>
                    <a:pt x="6830615" y="467915"/>
                  </a:moveTo>
                  <a:cubicBezTo>
                    <a:pt x="6829052" y="462183"/>
                    <a:pt x="6824884" y="458015"/>
                    <a:pt x="6819673" y="455409"/>
                  </a:cubicBezTo>
                  <a:cubicBezTo>
                    <a:pt x="6776425" y="435609"/>
                    <a:pt x="6737345" y="417372"/>
                    <a:pt x="6699829" y="401219"/>
                  </a:cubicBezTo>
                  <a:cubicBezTo>
                    <a:pt x="6660749" y="384024"/>
                    <a:pt x="6620627" y="367350"/>
                    <a:pt x="6577900" y="349633"/>
                  </a:cubicBezTo>
                  <a:cubicBezTo>
                    <a:pt x="6566958" y="345465"/>
                    <a:pt x="6553931" y="351197"/>
                    <a:pt x="6549762" y="361618"/>
                  </a:cubicBezTo>
                  <a:cubicBezTo>
                    <a:pt x="6545073" y="372560"/>
                    <a:pt x="6550805" y="385587"/>
                    <a:pt x="6561747" y="389755"/>
                  </a:cubicBezTo>
                  <a:cubicBezTo>
                    <a:pt x="6602911" y="406950"/>
                    <a:pt x="6643554" y="423624"/>
                    <a:pt x="6682113" y="440820"/>
                  </a:cubicBezTo>
                  <a:cubicBezTo>
                    <a:pt x="6721193" y="458015"/>
                    <a:pt x="6761314" y="476252"/>
                    <a:pt x="6801436" y="495010"/>
                  </a:cubicBezTo>
                  <a:cubicBezTo>
                    <a:pt x="6804562" y="496573"/>
                    <a:pt x="6807688" y="497094"/>
                    <a:pt x="6810815" y="497094"/>
                  </a:cubicBezTo>
                  <a:cubicBezTo>
                    <a:pt x="6819152" y="497094"/>
                    <a:pt x="6826968" y="491884"/>
                    <a:pt x="6830615" y="484589"/>
                  </a:cubicBezTo>
                  <a:cubicBezTo>
                    <a:pt x="6832179" y="479378"/>
                    <a:pt x="6832700" y="473125"/>
                    <a:pt x="6830615" y="467915"/>
                  </a:cubicBezTo>
                  <a:close/>
                  <a:moveTo>
                    <a:pt x="6937954" y="513768"/>
                  </a:moveTo>
                  <a:cubicBezTo>
                    <a:pt x="6927533" y="508558"/>
                    <a:pt x="6913986" y="512726"/>
                    <a:pt x="6908775" y="523148"/>
                  </a:cubicBezTo>
                  <a:cubicBezTo>
                    <a:pt x="6906169" y="528358"/>
                    <a:pt x="6905649" y="534090"/>
                    <a:pt x="6907212" y="539822"/>
                  </a:cubicBezTo>
                  <a:cubicBezTo>
                    <a:pt x="6908775" y="545553"/>
                    <a:pt x="6912943" y="549722"/>
                    <a:pt x="6918154" y="552327"/>
                  </a:cubicBezTo>
                  <a:cubicBezTo>
                    <a:pt x="6921281" y="553890"/>
                    <a:pt x="6924407" y="554411"/>
                    <a:pt x="6927533" y="554411"/>
                  </a:cubicBezTo>
                  <a:cubicBezTo>
                    <a:pt x="6935870" y="554411"/>
                    <a:pt x="6943165" y="550243"/>
                    <a:pt x="6947334" y="542427"/>
                  </a:cubicBezTo>
                  <a:cubicBezTo>
                    <a:pt x="6953066" y="532006"/>
                    <a:pt x="6948375" y="518979"/>
                    <a:pt x="6937954" y="513768"/>
                  </a:cubicBezTo>
                  <a:close/>
                  <a:moveTo>
                    <a:pt x="2768408" y="466352"/>
                  </a:moveTo>
                  <a:cubicBezTo>
                    <a:pt x="2763718" y="455930"/>
                    <a:pt x="2750171" y="451241"/>
                    <a:pt x="2739750" y="455930"/>
                  </a:cubicBezTo>
                  <a:cubicBezTo>
                    <a:pt x="2702233" y="473647"/>
                    <a:pt x="2663674" y="492405"/>
                    <a:pt x="2621989" y="513768"/>
                  </a:cubicBezTo>
                  <a:cubicBezTo>
                    <a:pt x="2621468" y="514289"/>
                    <a:pt x="2620947" y="514289"/>
                    <a:pt x="2620426" y="514289"/>
                  </a:cubicBezTo>
                  <a:cubicBezTo>
                    <a:pt x="2582910" y="533569"/>
                    <a:pt x="2545393" y="552848"/>
                    <a:pt x="2505271" y="574733"/>
                  </a:cubicBezTo>
                  <a:cubicBezTo>
                    <a:pt x="2494850" y="580465"/>
                    <a:pt x="2490681" y="594012"/>
                    <a:pt x="2496413" y="604433"/>
                  </a:cubicBezTo>
                  <a:cubicBezTo>
                    <a:pt x="2500582" y="611207"/>
                    <a:pt x="2507876" y="615897"/>
                    <a:pt x="2515692" y="615897"/>
                  </a:cubicBezTo>
                  <a:cubicBezTo>
                    <a:pt x="2519340" y="615897"/>
                    <a:pt x="2522466" y="614855"/>
                    <a:pt x="2526114" y="613292"/>
                  </a:cubicBezTo>
                  <a:cubicBezTo>
                    <a:pt x="2564151" y="592970"/>
                    <a:pt x="2602710" y="572649"/>
                    <a:pt x="2640226" y="553369"/>
                  </a:cubicBezTo>
                  <a:cubicBezTo>
                    <a:pt x="2640747" y="553369"/>
                    <a:pt x="2641269" y="553369"/>
                    <a:pt x="2641790" y="552848"/>
                  </a:cubicBezTo>
                  <a:lnTo>
                    <a:pt x="2650127" y="548680"/>
                  </a:lnTo>
                  <a:cubicBezTo>
                    <a:pt x="2685559" y="530964"/>
                    <a:pt x="2722033" y="513247"/>
                    <a:pt x="2758508" y="495531"/>
                  </a:cubicBezTo>
                  <a:cubicBezTo>
                    <a:pt x="2764240" y="492926"/>
                    <a:pt x="2767887" y="488757"/>
                    <a:pt x="2769971" y="483026"/>
                  </a:cubicBezTo>
                  <a:cubicBezTo>
                    <a:pt x="2771013" y="477815"/>
                    <a:pt x="2771013" y="471562"/>
                    <a:pt x="2768408" y="466352"/>
                  </a:cubicBezTo>
                  <a:close/>
                  <a:moveTo>
                    <a:pt x="2420338" y="647161"/>
                  </a:moveTo>
                  <a:cubicBezTo>
                    <a:pt x="2414606" y="637260"/>
                    <a:pt x="2400538" y="633092"/>
                    <a:pt x="2390637" y="639345"/>
                  </a:cubicBezTo>
                  <a:cubicBezTo>
                    <a:pt x="2380216" y="645597"/>
                    <a:pt x="2376569" y="658624"/>
                    <a:pt x="2382300" y="669045"/>
                  </a:cubicBezTo>
                  <a:cubicBezTo>
                    <a:pt x="2386469" y="675819"/>
                    <a:pt x="2393764" y="679988"/>
                    <a:pt x="2401059" y="679988"/>
                  </a:cubicBezTo>
                  <a:cubicBezTo>
                    <a:pt x="2405227" y="679988"/>
                    <a:pt x="2408353" y="678945"/>
                    <a:pt x="2411480" y="677382"/>
                  </a:cubicBezTo>
                  <a:lnTo>
                    <a:pt x="2412522" y="676861"/>
                  </a:lnTo>
                  <a:cubicBezTo>
                    <a:pt x="2422422" y="670608"/>
                    <a:pt x="2426070" y="657582"/>
                    <a:pt x="2420338" y="647161"/>
                  </a:cubicBezTo>
                  <a:close/>
                  <a:moveTo>
                    <a:pt x="7292798" y="720631"/>
                  </a:moveTo>
                  <a:cubicBezTo>
                    <a:pt x="7291235" y="714899"/>
                    <a:pt x="7288109" y="710209"/>
                    <a:pt x="7282898" y="707083"/>
                  </a:cubicBezTo>
                  <a:cubicBezTo>
                    <a:pt x="7247466" y="685198"/>
                    <a:pt x="7209949" y="662793"/>
                    <a:pt x="7169827" y="639866"/>
                  </a:cubicBezTo>
                  <a:cubicBezTo>
                    <a:pt x="7131790" y="617981"/>
                    <a:pt x="7093232" y="596618"/>
                    <a:pt x="7055193" y="575254"/>
                  </a:cubicBezTo>
                  <a:cubicBezTo>
                    <a:pt x="7054673" y="574733"/>
                    <a:pt x="7054152" y="574733"/>
                    <a:pt x="7053630" y="574733"/>
                  </a:cubicBezTo>
                  <a:cubicBezTo>
                    <a:pt x="7043730" y="570043"/>
                    <a:pt x="7030703" y="573691"/>
                    <a:pt x="7026014" y="584112"/>
                  </a:cubicBezTo>
                  <a:cubicBezTo>
                    <a:pt x="7022888" y="589323"/>
                    <a:pt x="7022367" y="595054"/>
                    <a:pt x="7024451" y="600786"/>
                  </a:cubicBezTo>
                  <a:cubicBezTo>
                    <a:pt x="7026014" y="606518"/>
                    <a:pt x="7029662" y="610686"/>
                    <a:pt x="7034872" y="613813"/>
                  </a:cubicBezTo>
                  <a:cubicBezTo>
                    <a:pt x="7074473" y="635176"/>
                    <a:pt x="7112511" y="656540"/>
                    <a:pt x="7148985" y="677903"/>
                  </a:cubicBezTo>
                  <a:cubicBezTo>
                    <a:pt x="7187022" y="699788"/>
                    <a:pt x="7224539" y="722194"/>
                    <a:pt x="7261013" y="744599"/>
                  </a:cubicBezTo>
                  <a:cubicBezTo>
                    <a:pt x="7264661" y="746684"/>
                    <a:pt x="7268309" y="748247"/>
                    <a:pt x="7272477" y="748247"/>
                  </a:cubicBezTo>
                  <a:cubicBezTo>
                    <a:pt x="7280293" y="748247"/>
                    <a:pt x="7287066" y="744078"/>
                    <a:pt x="7291235" y="737826"/>
                  </a:cubicBezTo>
                  <a:cubicBezTo>
                    <a:pt x="7293320" y="732094"/>
                    <a:pt x="7294362" y="725841"/>
                    <a:pt x="7292798" y="720631"/>
                  </a:cubicBezTo>
                  <a:close/>
                  <a:moveTo>
                    <a:pt x="7394406" y="777948"/>
                  </a:moveTo>
                  <a:lnTo>
                    <a:pt x="7394406" y="777948"/>
                  </a:lnTo>
                  <a:cubicBezTo>
                    <a:pt x="7384506" y="771174"/>
                    <a:pt x="7370957" y="774300"/>
                    <a:pt x="7364184" y="784200"/>
                  </a:cubicBezTo>
                  <a:cubicBezTo>
                    <a:pt x="7357410" y="794100"/>
                    <a:pt x="7360016" y="807648"/>
                    <a:pt x="7370957" y="814422"/>
                  </a:cubicBezTo>
                  <a:cubicBezTo>
                    <a:pt x="7374605" y="817027"/>
                    <a:pt x="7378252" y="818590"/>
                    <a:pt x="7382943" y="818590"/>
                  </a:cubicBezTo>
                  <a:cubicBezTo>
                    <a:pt x="7390237" y="818590"/>
                    <a:pt x="7397011" y="814422"/>
                    <a:pt x="7401179" y="808690"/>
                  </a:cubicBezTo>
                  <a:cubicBezTo>
                    <a:pt x="7407433" y="797748"/>
                    <a:pt x="7404305" y="784200"/>
                    <a:pt x="7394406" y="777948"/>
                  </a:cubicBezTo>
                  <a:close/>
                  <a:moveTo>
                    <a:pt x="2307267" y="713336"/>
                  </a:moveTo>
                  <a:cubicBezTo>
                    <a:pt x="2301015" y="703435"/>
                    <a:pt x="2287467" y="700309"/>
                    <a:pt x="2277045" y="706562"/>
                  </a:cubicBezTo>
                  <a:cubicBezTo>
                    <a:pt x="2242134" y="727925"/>
                    <a:pt x="2206181" y="750852"/>
                    <a:pt x="2166059" y="776905"/>
                  </a:cubicBezTo>
                  <a:cubicBezTo>
                    <a:pt x="2130106" y="800353"/>
                    <a:pt x="2093110" y="825364"/>
                    <a:pt x="2056636" y="850375"/>
                  </a:cubicBezTo>
                  <a:cubicBezTo>
                    <a:pt x="2051946" y="853502"/>
                    <a:pt x="2048820" y="858712"/>
                    <a:pt x="2047778" y="864444"/>
                  </a:cubicBezTo>
                  <a:cubicBezTo>
                    <a:pt x="2046214" y="870176"/>
                    <a:pt x="2047778" y="875907"/>
                    <a:pt x="2051425" y="880597"/>
                  </a:cubicBezTo>
                  <a:cubicBezTo>
                    <a:pt x="2055594" y="886850"/>
                    <a:pt x="2062368" y="889976"/>
                    <a:pt x="2069141" y="889976"/>
                  </a:cubicBezTo>
                  <a:cubicBezTo>
                    <a:pt x="2073310" y="889976"/>
                    <a:pt x="2077999" y="888413"/>
                    <a:pt x="2081126" y="885808"/>
                  </a:cubicBezTo>
                  <a:cubicBezTo>
                    <a:pt x="2116558" y="860797"/>
                    <a:pt x="2153554" y="836828"/>
                    <a:pt x="2189507" y="812859"/>
                  </a:cubicBezTo>
                  <a:cubicBezTo>
                    <a:pt x="2225460" y="789411"/>
                    <a:pt x="2262456" y="765963"/>
                    <a:pt x="2299451" y="743036"/>
                  </a:cubicBezTo>
                  <a:cubicBezTo>
                    <a:pt x="2310393" y="736784"/>
                    <a:pt x="2313520" y="723757"/>
                    <a:pt x="2307267" y="713336"/>
                  </a:cubicBezTo>
                  <a:close/>
                  <a:moveTo>
                    <a:pt x="1980561" y="931661"/>
                  </a:moveTo>
                  <a:cubicBezTo>
                    <a:pt x="1973787" y="922282"/>
                    <a:pt x="1959718" y="920198"/>
                    <a:pt x="1950339" y="926972"/>
                  </a:cubicBezTo>
                  <a:cubicBezTo>
                    <a:pt x="1940960" y="934267"/>
                    <a:pt x="1938354" y="947814"/>
                    <a:pt x="1946170" y="957193"/>
                  </a:cubicBezTo>
                  <a:cubicBezTo>
                    <a:pt x="1950339" y="962925"/>
                    <a:pt x="1956592" y="966572"/>
                    <a:pt x="1963365" y="966572"/>
                  </a:cubicBezTo>
                  <a:cubicBezTo>
                    <a:pt x="1968055" y="966572"/>
                    <a:pt x="1972745" y="965009"/>
                    <a:pt x="1976392" y="962404"/>
                  </a:cubicBezTo>
                  <a:cubicBezTo>
                    <a:pt x="1985771" y="955109"/>
                    <a:pt x="1988377" y="941040"/>
                    <a:pt x="1980561" y="931661"/>
                  </a:cubicBezTo>
                  <a:close/>
                  <a:moveTo>
                    <a:pt x="7715902" y="1007736"/>
                  </a:moveTo>
                  <a:cubicBezTo>
                    <a:pt x="7680469" y="980120"/>
                    <a:pt x="7645558" y="953025"/>
                    <a:pt x="7611168" y="928014"/>
                  </a:cubicBezTo>
                  <a:cubicBezTo>
                    <a:pt x="7576778" y="902482"/>
                    <a:pt x="7540825" y="876428"/>
                    <a:pt x="7504350" y="850896"/>
                  </a:cubicBezTo>
                  <a:cubicBezTo>
                    <a:pt x="7494971" y="844123"/>
                    <a:pt x="7480381" y="846728"/>
                    <a:pt x="7474129" y="856628"/>
                  </a:cubicBezTo>
                  <a:cubicBezTo>
                    <a:pt x="7470481" y="861318"/>
                    <a:pt x="7469438" y="867049"/>
                    <a:pt x="7470481" y="873302"/>
                  </a:cubicBezTo>
                  <a:cubicBezTo>
                    <a:pt x="7471523" y="879034"/>
                    <a:pt x="7474649" y="883723"/>
                    <a:pt x="7479860" y="886850"/>
                  </a:cubicBezTo>
                  <a:cubicBezTo>
                    <a:pt x="7517898" y="913424"/>
                    <a:pt x="7552288" y="938435"/>
                    <a:pt x="7586157" y="962925"/>
                  </a:cubicBezTo>
                  <a:cubicBezTo>
                    <a:pt x="7621589" y="988978"/>
                    <a:pt x="7655979" y="1015552"/>
                    <a:pt x="7690369" y="1042127"/>
                  </a:cubicBezTo>
                  <a:cubicBezTo>
                    <a:pt x="7694538" y="1045253"/>
                    <a:pt x="7698707" y="1046295"/>
                    <a:pt x="7703396" y="1046295"/>
                  </a:cubicBezTo>
                  <a:cubicBezTo>
                    <a:pt x="7710170" y="1046295"/>
                    <a:pt x="7716423" y="1043169"/>
                    <a:pt x="7720591" y="1037958"/>
                  </a:cubicBezTo>
                  <a:cubicBezTo>
                    <a:pt x="7724239" y="1033269"/>
                    <a:pt x="7725802" y="1027537"/>
                    <a:pt x="7724760" y="1021805"/>
                  </a:cubicBezTo>
                  <a:cubicBezTo>
                    <a:pt x="7723717" y="1016595"/>
                    <a:pt x="7720591" y="1011384"/>
                    <a:pt x="7715902" y="1007736"/>
                  </a:cubicBezTo>
                  <a:close/>
                  <a:moveTo>
                    <a:pt x="7819072" y="1090064"/>
                  </a:moveTo>
                  <a:cubicBezTo>
                    <a:pt x="7809693" y="1082770"/>
                    <a:pt x="7795624" y="1083812"/>
                    <a:pt x="7788329" y="1093191"/>
                  </a:cubicBezTo>
                  <a:cubicBezTo>
                    <a:pt x="7784682" y="1097359"/>
                    <a:pt x="7783119" y="1103091"/>
                    <a:pt x="7783640" y="1109344"/>
                  </a:cubicBezTo>
                  <a:cubicBezTo>
                    <a:pt x="7784161" y="1115076"/>
                    <a:pt x="7787287" y="1120286"/>
                    <a:pt x="7791456" y="1123934"/>
                  </a:cubicBezTo>
                  <a:cubicBezTo>
                    <a:pt x="7795624" y="1127581"/>
                    <a:pt x="7800314" y="1129144"/>
                    <a:pt x="7805525" y="1129144"/>
                  </a:cubicBezTo>
                  <a:cubicBezTo>
                    <a:pt x="7812298" y="1129144"/>
                    <a:pt x="7818030" y="1126018"/>
                    <a:pt x="7822198" y="1120807"/>
                  </a:cubicBezTo>
                  <a:cubicBezTo>
                    <a:pt x="7826367" y="1116639"/>
                    <a:pt x="7827930" y="1110907"/>
                    <a:pt x="7827409" y="1105175"/>
                  </a:cubicBezTo>
                  <a:cubicBezTo>
                    <a:pt x="7825846" y="1099444"/>
                    <a:pt x="7823241" y="1094233"/>
                    <a:pt x="7819072" y="1090064"/>
                  </a:cubicBezTo>
                  <a:close/>
                  <a:moveTo>
                    <a:pt x="1876348" y="1010342"/>
                  </a:moveTo>
                  <a:cubicBezTo>
                    <a:pt x="1869053" y="1000963"/>
                    <a:pt x="1854984" y="998878"/>
                    <a:pt x="1845605" y="1006173"/>
                  </a:cubicBezTo>
                  <a:cubicBezTo>
                    <a:pt x="1812778" y="1031705"/>
                    <a:pt x="1779430" y="1058280"/>
                    <a:pt x="1744519" y="1086938"/>
                  </a:cubicBezTo>
                  <a:cubicBezTo>
                    <a:pt x="1743998" y="1087459"/>
                    <a:pt x="1742956" y="1087980"/>
                    <a:pt x="1742956" y="1088501"/>
                  </a:cubicBezTo>
                  <a:cubicBezTo>
                    <a:pt x="1710129" y="1115597"/>
                    <a:pt x="1676260" y="1144255"/>
                    <a:pt x="1642912" y="1173956"/>
                  </a:cubicBezTo>
                  <a:cubicBezTo>
                    <a:pt x="1638222" y="1177603"/>
                    <a:pt x="1635617" y="1182814"/>
                    <a:pt x="1635096" y="1188545"/>
                  </a:cubicBezTo>
                  <a:cubicBezTo>
                    <a:pt x="1634575" y="1194277"/>
                    <a:pt x="1636659" y="1200009"/>
                    <a:pt x="1640828" y="1204177"/>
                  </a:cubicBezTo>
                  <a:cubicBezTo>
                    <a:pt x="1644996" y="1208867"/>
                    <a:pt x="1650728" y="1211472"/>
                    <a:pt x="1656981" y="1211472"/>
                  </a:cubicBezTo>
                  <a:cubicBezTo>
                    <a:pt x="1662712" y="1211472"/>
                    <a:pt x="1667402" y="1209909"/>
                    <a:pt x="1671570" y="1206262"/>
                  </a:cubicBezTo>
                  <a:lnTo>
                    <a:pt x="1674176" y="1204177"/>
                  </a:lnTo>
                  <a:cubicBezTo>
                    <a:pt x="1705960" y="1176561"/>
                    <a:pt x="1738787" y="1148945"/>
                    <a:pt x="1771093" y="1121849"/>
                  </a:cubicBezTo>
                  <a:cubicBezTo>
                    <a:pt x="1807047" y="1092149"/>
                    <a:pt x="1840395" y="1065575"/>
                    <a:pt x="1872701" y="1040563"/>
                  </a:cubicBezTo>
                  <a:cubicBezTo>
                    <a:pt x="1881559" y="1033269"/>
                    <a:pt x="1883122" y="1019721"/>
                    <a:pt x="1876348" y="1010342"/>
                  </a:cubicBezTo>
                  <a:close/>
                  <a:moveTo>
                    <a:pt x="1575174" y="1262536"/>
                  </a:moveTo>
                  <a:cubicBezTo>
                    <a:pt x="1567358" y="1254199"/>
                    <a:pt x="1552768" y="1253157"/>
                    <a:pt x="1544431" y="1260973"/>
                  </a:cubicBezTo>
                  <a:cubicBezTo>
                    <a:pt x="1540262" y="1265142"/>
                    <a:pt x="1537657" y="1270352"/>
                    <a:pt x="1537657" y="1276084"/>
                  </a:cubicBezTo>
                  <a:cubicBezTo>
                    <a:pt x="1537136" y="1282337"/>
                    <a:pt x="1539220" y="1287547"/>
                    <a:pt x="1543389" y="1291716"/>
                  </a:cubicBezTo>
                  <a:cubicBezTo>
                    <a:pt x="1547557" y="1295885"/>
                    <a:pt x="1553289" y="1298490"/>
                    <a:pt x="1559542" y="1298490"/>
                  </a:cubicBezTo>
                  <a:cubicBezTo>
                    <a:pt x="1564752" y="1298490"/>
                    <a:pt x="1570484" y="1296406"/>
                    <a:pt x="1574132" y="1292758"/>
                  </a:cubicBezTo>
                  <a:cubicBezTo>
                    <a:pt x="1582469" y="1284942"/>
                    <a:pt x="1582989" y="1271394"/>
                    <a:pt x="1575174" y="1262536"/>
                  </a:cubicBezTo>
                  <a:close/>
                  <a:moveTo>
                    <a:pt x="8112952" y="1353722"/>
                  </a:moveTo>
                  <a:cubicBezTo>
                    <a:pt x="8079604" y="1320896"/>
                    <a:pt x="8048339" y="1291716"/>
                    <a:pt x="8017076" y="1263057"/>
                  </a:cubicBezTo>
                  <a:cubicBezTo>
                    <a:pt x="7985812" y="1234399"/>
                    <a:pt x="7954027" y="1205741"/>
                    <a:pt x="7919116" y="1174998"/>
                  </a:cubicBezTo>
                  <a:cubicBezTo>
                    <a:pt x="7909737" y="1167182"/>
                    <a:pt x="7895668" y="1168224"/>
                    <a:pt x="7888373" y="1177082"/>
                  </a:cubicBezTo>
                  <a:cubicBezTo>
                    <a:pt x="7884205" y="1181251"/>
                    <a:pt x="7882642" y="1186982"/>
                    <a:pt x="7883163" y="1192714"/>
                  </a:cubicBezTo>
                  <a:cubicBezTo>
                    <a:pt x="7883684" y="1198446"/>
                    <a:pt x="7886289" y="1204177"/>
                    <a:pt x="7890457" y="1207304"/>
                  </a:cubicBezTo>
                  <a:lnTo>
                    <a:pt x="7890979" y="1208346"/>
                  </a:lnTo>
                  <a:cubicBezTo>
                    <a:pt x="7926411" y="1238568"/>
                    <a:pt x="7958196" y="1267226"/>
                    <a:pt x="7987375" y="1294842"/>
                  </a:cubicBezTo>
                  <a:cubicBezTo>
                    <a:pt x="8020202" y="1324543"/>
                    <a:pt x="8051987" y="1354244"/>
                    <a:pt x="8082209" y="1384465"/>
                  </a:cubicBezTo>
                  <a:cubicBezTo>
                    <a:pt x="8086378" y="1388634"/>
                    <a:pt x="8091588" y="1390718"/>
                    <a:pt x="8097319" y="1390718"/>
                  </a:cubicBezTo>
                  <a:cubicBezTo>
                    <a:pt x="8103573" y="1390718"/>
                    <a:pt x="8108783" y="1388634"/>
                    <a:pt x="8112952" y="1383944"/>
                  </a:cubicBezTo>
                  <a:cubicBezTo>
                    <a:pt x="8121809" y="1376128"/>
                    <a:pt x="8121289" y="1362581"/>
                    <a:pt x="8112952" y="1353722"/>
                  </a:cubicBezTo>
                  <a:close/>
                  <a:moveTo>
                    <a:pt x="8206222" y="1446993"/>
                  </a:moveTo>
                  <a:cubicBezTo>
                    <a:pt x="8197885" y="1438656"/>
                    <a:pt x="8183816" y="1438656"/>
                    <a:pt x="8175479" y="1446472"/>
                  </a:cubicBezTo>
                  <a:cubicBezTo>
                    <a:pt x="8166621" y="1455330"/>
                    <a:pt x="8166621" y="1468878"/>
                    <a:pt x="8174958" y="1477215"/>
                  </a:cubicBezTo>
                  <a:cubicBezTo>
                    <a:pt x="8179127" y="1481383"/>
                    <a:pt x="8184858" y="1483988"/>
                    <a:pt x="8190590" y="1483988"/>
                  </a:cubicBezTo>
                  <a:cubicBezTo>
                    <a:pt x="8196322" y="1483988"/>
                    <a:pt x="8201532" y="1481904"/>
                    <a:pt x="8205701" y="1477736"/>
                  </a:cubicBezTo>
                  <a:cubicBezTo>
                    <a:pt x="8214559" y="1469399"/>
                    <a:pt x="8214559" y="1455851"/>
                    <a:pt x="8206222" y="1446993"/>
                  </a:cubicBezTo>
                  <a:close/>
                  <a:moveTo>
                    <a:pt x="1479819" y="1352159"/>
                  </a:moveTo>
                  <a:cubicBezTo>
                    <a:pt x="1472003" y="1343822"/>
                    <a:pt x="1457413" y="1343822"/>
                    <a:pt x="1449076" y="1351638"/>
                  </a:cubicBezTo>
                  <a:cubicBezTo>
                    <a:pt x="1416770" y="1382902"/>
                    <a:pt x="1386028" y="1414166"/>
                    <a:pt x="1355806" y="1444909"/>
                  </a:cubicBezTo>
                  <a:cubicBezTo>
                    <a:pt x="1325584" y="1475651"/>
                    <a:pt x="1295363" y="1507957"/>
                    <a:pt x="1265141" y="1540784"/>
                  </a:cubicBezTo>
                  <a:cubicBezTo>
                    <a:pt x="1260973" y="1544953"/>
                    <a:pt x="1258888" y="1550163"/>
                    <a:pt x="1259409" y="1556416"/>
                  </a:cubicBezTo>
                  <a:cubicBezTo>
                    <a:pt x="1259409" y="1562148"/>
                    <a:pt x="1262015" y="1567358"/>
                    <a:pt x="1266183" y="1571006"/>
                  </a:cubicBezTo>
                  <a:cubicBezTo>
                    <a:pt x="1270352" y="1575174"/>
                    <a:pt x="1275562" y="1577259"/>
                    <a:pt x="1280773" y="1577259"/>
                  </a:cubicBezTo>
                  <a:cubicBezTo>
                    <a:pt x="1287026" y="1577259"/>
                    <a:pt x="1292757" y="1574653"/>
                    <a:pt x="1296405" y="1570485"/>
                  </a:cubicBezTo>
                  <a:cubicBezTo>
                    <a:pt x="1327148" y="1537137"/>
                    <a:pt x="1357369" y="1505352"/>
                    <a:pt x="1386549" y="1475651"/>
                  </a:cubicBezTo>
                  <a:cubicBezTo>
                    <a:pt x="1416770" y="1444387"/>
                    <a:pt x="1448555" y="1413124"/>
                    <a:pt x="1478777" y="1383423"/>
                  </a:cubicBezTo>
                  <a:cubicBezTo>
                    <a:pt x="1487635" y="1374565"/>
                    <a:pt x="1487635" y="1361017"/>
                    <a:pt x="1479819" y="1352159"/>
                  </a:cubicBezTo>
                  <a:close/>
                  <a:moveTo>
                    <a:pt x="1215119" y="1651250"/>
                  </a:moveTo>
                  <a:cubicBezTo>
                    <a:pt x="1214598" y="1644997"/>
                    <a:pt x="1211993" y="1639786"/>
                    <a:pt x="1207824" y="1636139"/>
                  </a:cubicBezTo>
                  <a:cubicBezTo>
                    <a:pt x="1198966" y="1628844"/>
                    <a:pt x="1184897" y="1629365"/>
                    <a:pt x="1177603" y="1638223"/>
                  </a:cubicBezTo>
                  <a:cubicBezTo>
                    <a:pt x="1173434" y="1642392"/>
                    <a:pt x="1171871" y="1648123"/>
                    <a:pt x="1171871" y="1653855"/>
                  </a:cubicBezTo>
                  <a:cubicBezTo>
                    <a:pt x="1172392" y="1660108"/>
                    <a:pt x="1174997" y="1665318"/>
                    <a:pt x="1179687" y="1668966"/>
                  </a:cubicBezTo>
                  <a:cubicBezTo>
                    <a:pt x="1183855" y="1672613"/>
                    <a:pt x="1188545" y="1674177"/>
                    <a:pt x="1193755" y="1674177"/>
                  </a:cubicBezTo>
                  <a:cubicBezTo>
                    <a:pt x="1200529" y="1674177"/>
                    <a:pt x="1206261" y="1671571"/>
                    <a:pt x="1210429" y="1666882"/>
                  </a:cubicBezTo>
                  <a:lnTo>
                    <a:pt x="1213556" y="1663234"/>
                  </a:lnTo>
                  <a:lnTo>
                    <a:pt x="1212514" y="1663234"/>
                  </a:lnTo>
                  <a:cubicBezTo>
                    <a:pt x="1214598" y="1659587"/>
                    <a:pt x="1215640" y="1655939"/>
                    <a:pt x="1215119" y="1651250"/>
                  </a:cubicBezTo>
                  <a:close/>
                  <a:moveTo>
                    <a:pt x="8469358" y="1740873"/>
                  </a:moveTo>
                  <a:cubicBezTo>
                    <a:pt x="8440179" y="1705440"/>
                    <a:pt x="8412563" y="1673134"/>
                    <a:pt x="8385467" y="1641871"/>
                  </a:cubicBezTo>
                  <a:cubicBezTo>
                    <a:pt x="8384946" y="1641349"/>
                    <a:pt x="8384946" y="1640828"/>
                    <a:pt x="8384426" y="1640307"/>
                  </a:cubicBezTo>
                  <a:cubicBezTo>
                    <a:pt x="8356809" y="1609565"/>
                    <a:pt x="8328151" y="1577259"/>
                    <a:pt x="8296366" y="1542347"/>
                  </a:cubicBezTo>
                  <a:cubicBezTo>
                    <a:pt x="8288550" y="1534010"/>
                    <a:pt x="8273960" y="1532968"/>
                    <a:pt x="8265623" y="1540784"/>
                  </a:cubicBezTo>
                  <a:cubicBezTo>
                    <a:pt x="8261455" y="1544953"/>
                    <a:pt x="8258849" y="1550163"/>
                    <a:pt x="8258849" y="1555895"/>
                  </a:cubicBezTo>
                  <a:cubicBezTo>
                    <a:pt x="8258849" y="1561627"/>
                    <a:pt x="8260412" y="1567358"/>
                    <a:pt x="8264581" y="1571527"/>
                  </a:cubicBezTo>
                  <a:cubicBezTo>
                    <a:pt x="8292718" y="1601749"/>
                    <a:pt x="8322419" y="1635097"/>
                    <a:pt x="8351598" y="1668445"/>
                  </a:cubicBezTo>
                  <a:cubicBezTo>
                    <a:pt x="8379736" y="1700751"/>
                    <a:pt x="8408394" y="1734099"/>
                    <a:pt x="8436010" y="1767968"/>
                  </a:cubicBezTo>
                  <a:cubicBezTo>
                    <a:pt x="8440179" y="1772657"/>
                    <a:pt x="8446431" y="1775784"/>
                    <a:pt x="8453205" y="1775784"/>
                  </a:cubicBezTo>
                  <a:cubicBezTo>
                    <a:pt x="8457895" y="1775784"/>
                    <a:pt x="8463106" y="1774221"/>
                    <a:pt x="8467274" y="1770573"/>
                  </a:cubicBezTo>
                  <a:cubicBezTo>
                    <a:pt x="8476132" y="1764320"/>
                    <a:pt x="8477175" y="1750252"/>
                    <a:pt x="8469358" y="1740873"/>
                  </a:cubicBezTo>
                  <a:close/>
                  <a:moveTo>
                    <a:pt x="8552208" y="1843522"/>
                  </a:moveTo>
                  <a:lnTo>
                    <a:pt x="8551165" y="1842480"/>
                  </a:lnTo>
                  <a:cubicBezTo>
                    <a:pt x="8543871" y="1834143"/>
                    <a:pt x="8530322" y="1832580"/>
                    <a:pt x="8520944" y="1839875"/>
                  </a:cubicBezTo>
                  <a:cubicBezTo>
                    <a:pt x="8515733" y="1844043"/>
                    <a:pt x="8512607" y="1850296"/>
                    <a:pt x="8512607" y="1857070"/>
                  </a:cubicBezTo>
                  <a:cubicBezTo>
                    <a:pt x="8512607" y="1861238"/>
                    <a:pt x="8514170" y="1866449"/>
                    <a:pt x="8517296" y="1870096"/>
                  </a:cubicBezTo>
                  <a:cubicBezTo>
                    <a:pt x="8521464" y="1875828"/>
                    <a:pt x="8527718" y="1878954"/>
                    <a:pt x="8534491" y="1878954"/>
                  </a:cubicBezTo>
                  <a:cubicBezTo>
                    <a:pt x="8539181" y="1878954"/>
                    <a:pt x="8543871" y="1877391"/>
                    <a:pt x="8548039" y="1874265"/>
                  </a:cubicBezTo>
                  <a:cubicBezTo>
                    <a:pt x="8557418" y="1866970"/>
                    <a:pt x="8558981" y="1853422"/>
                    <a:pt x="8552208" y="1843522"/>
                  </a:cubicBezTo>
                  <a:close/>
                  <a:moveTo>
                    <a:pt x="1122370" y="1735662"/>
                  </a:moveTo>
                  <a:cubicBezTo>
                    <a:pt x="1112991" y="1728367"/>
                    <a:pt x="1098922" y="1729930"/>
                    <a:pt x="1092148" y="1738788"/>
                  </a:cubicBezTo>
                  <a:cubicBezTo>
                    <a:pt x="1064532" y="1772657"/>
                    <a:pt x="1036394" y="1807048"/>
                    <a:pt x="1009299" y="1841438"/>
                  </a:cubicBezTo>
                  <a:cubicBezTo>
                    <a:pt x="980641" y="1878433"/>
                    <a:pt x="954587" y="1912823"/>
                    <a:pt x="929576" y="1946693"/>
                  </a:cubicBezTo>
                  <a:cubicBezTo>
                    <a:pt x="925929" y="1950861"/>
                    <a:pt x="924887" y="1957114"/>
                    <a:pt x="925408" y="1962845"/>
                  </a:cubicBezTo>
                  <a:cubicBezTo>
                    <a:pt x="926450" y="1968577"/>
                    <a:pt x="929576" y="1973788"/>
                    <a:pt x="934266" y="1977435"/>
                  </a:cubicBezTo>
                  <a:cubicBezTo>
                    <a:pt x="937913" y="1980041"/>
                    <a:pt x="942603" y="1981604"/>
                    <a:pt x="946772" y="1981604"/>
                  </a:cubicBezTo>
                  <a:cubicBezTo>
                    <a:pt x="953545" y="1981604"/>
                    <a:pt x="960319" y="1978477"/>
                    <a:pt x="964488" y="1972746"/>
                  </a:cubicBezTo>
                  <a:cubicBezTo>
                    <a:pt x="988978" y="1939398"/>
                    <a:pt x="1015552" y="1904486"/>
                    <a:pt x="1043168" y="1868533"/>
                  </a:cubicBezTo>
                  <a:cubicBezTo>
                    <a:pt x="1070785" y="1833101"/>
                    <a:pt x="1097880" y="1798711"/>
                    <a:pt x="1124975" y="1766926"/>
                  </a:cubicBezTo>
                  <a:cubicBezTo>
                    <a:pt x="1128623" y="1762757"/>
                    <a:pt x="1130186" y="1757026"/>
                    <a:pt x="1129665" y="1750773"/>
                  </a:cubicBezTo>
                  <a:cubicBezTo>
                    <a:pt x="1129665" y="1745041"/>
                    <a:pt x="1126538" y="1739830"/>
                    <a:pt x="1122370" y="1735662"/>
                  </a:cubicBezTo>
                  <a:close/>
                  <a:moveTo>
                    <a:pt x="883202" y="2048821"/>
                  </a:moveTo>
                  <a:cubicBezTo>
                    <a:pt x="873823" y="2042047"/>
                    <a:pt x="859754" y="2044653"/>
                    <a:pt x="852980" y="2054032"/>
                  </a:cubicBezTo>
                  <a:cubicBezTo>
                    <a:pt x="849333" y="2058721"/>
                    <a:pt x="848291" y="2064453"/>
                    <a:pt x="849333" y="2070185"/>
                  </a:cubicBezTo>
                  <a:cubicBezTo>
                    <a:pt x="850375" y="2075916"/>
                    <a:pt x="853501" y="2081127"/>
                    <a:pt x="858191" y="2084774"/>
                  </a:cubicBezTo>
                  <a:cubicBezTo>
                    <a:pt x="862359" y="2086859"/>
                    <a:pt x="866528" y="2088943"/>
                    <a:pt x="870696" y="2088943"/>
                  </a:cubicBezTo>
                  <a:cubicBezTo>
                    <a:pt x="877470" y="2088943"/>
                    <a:pt x="884765" y="2085295"/>
                    <a:pt x="888412" y="2079564"/>
                  </a:cubicBezTo>
                  <a:cubicBezTo>
                    <a:pt x="895707" y="2069142"/>
                    <a:pt x="893102" y="2055074"/>
                    <a:pt x="883202" y="2048821"/>
                  </a:cubicBezTo>
                  <a:close/>
                  <a:moveTo>
                    <a:pt x="8781475" y="2165018"/>
                  </a:moveTo>
                  <a:cubicBezTo>
                    <a:pt x="8757506" y="2128544"/>
                    <a:pt x="8732495" y="2091548"/>
                    <a:pt x="8708005" y="2055595"/>
                  </a:cubicBezTo>
                  <a:cubicBezTo>
                    <a:pt x="8682994" y="2019120"/>
                    <a:pt x="8656941" y="1983167"/>
                    <a:pt x="8631409" y="1948777"/>
                  </a:cubicBezTo>
                  <a:cubicBezTo>
                    <a:pt x="8624636" y="1939398"/>
                    <a:pt x="8610046" y="1937313"/>
                    <a:pt x="8601187" y="1944608"/>
                  </a:cubicBezTo>
                  <a:cubicBezTo>
                    <a:pt x="8596498" y="1948256"/>
                    <a:pt x="8593371" y="1952945"/>
                    <a:pt x="8592329" y="1958677"/>
                  </a:cubicBezTo>
                  <a:cubicBezTo>
                    <a:pt x="8591288" y="1964930"/>
                    <a:pt x="8593371" y="1970661"/>
                    <a:pt x="8596498" y="1974830"/>
                  </a:cubicBezTo>
                  <a:cubicBezTo>
                    <a:pt x="8622551" y="2010262"/>
                    <a:pt x="8648083" y="2046216"/>
                    <a:pt x="8672052" y="2081127"/>
                  </a:cubicBezTo>
                  <a:cubicBezTo>
                    <a:pt x="8696542" y="2116559"/>
                    <a:pt x="8721032" y="2152513"/>
                    <a:pt x="8744479" y="2188987"/>
                  </a:cubicBezTo>
                  <a:cubicBezTo>
                    <a:pt x="8748648" y="2195240"/>
                    <a:pt x="8755422" y="2198887"/>
                    <a:pt x="8762717" y="2198887"/>
                  </a:cubicBezTo>
                  <a:cubicBezTo>
                    <a:pt x="8766886" y="2198887"/>
                    <a:pt x="8771054" y="2197324"/>
                    <a:pt x="8774701" y="2195240"/>
                  </a:cubicBezTo>
                  <a:cubicBezTo>
                    <a:pt x="8779391" y="2191592"/>
                    <a:pt x="8782518" y="2186903"/>
                    <a:pt x="8784081" y="2181171"/>
                  </a:cubicBezTo>
                  <a:cubicBezTo>
                    <a:pt x="8785644" y="2175439"/>
                    <a:pt x="8784601" y="2169708"/>
                    <a:pt x="8781475" y="2165018"/>
                  </a:cubicBezTo>
                  <a:close/>
                  <a:moveTo>
                    <a:pt x="8851819" y="2275483"/>
                  </a:moveTo>
                  <a:lnTo>
                    <a:pt x="8847650" y="2268710"/>
                  </a:lnTo>
                  <a:lnTo>
                    <a:pt x="8847650" y="2270273"/>
                  </a:lnTo>
                  <a:cubicBezTo>
                    <a:pt x="8840876" y="2263499"/>
                    <a:pt x="8829934" y="2262978"/>
                    <a:pt x="8821597" y="2267668"/>
                  </a:cubicBezTo>
                  <a:cubicBezTo>
                    <a:pt x="8816907" y="2270794"/>
                    <a:pt x="8813260" y="2275483"/>
                    <a:pt x="8812218" y="2281215"/>
                  </a:cubicBezTo>
                  <a:cubicBezTo>
                    <a:pt x="8810655" y="2286947"/>
                    <a:pt x="8811697" y="2292679"/>
                    <a:pt x="8814302" y="2297368"/>
                  </a:cubicBezTo>
                  <a:lnTo>
                    <a:pt x="8814823" y="2297889"/>
                  </a:lnTo>
                  <a:cubicBezTo>
                    <a:pt x="8818992" y="2304663"/>
                    <a:pt x="8825766" y="2308311"/>
                    <a:pt x="8833582" y="2308311"/>
                  </a:cubicBezTo>
                  <a:cubicBezTo>
                    <a:pt x="8837750" y="2308311"/>
                    <a:pt x="8841397" y="2306747"/>
                    <a:pt x="8845045" y="2305184"/>
                  </a:cubicBezTo>
                  <a:cubicBezTo>
                    <a:pt x="8854945" y="2299453"/>
                    <a:pt x="8858072" y="2285905"/>
                    <a:pt x="8851819" y="2275483"/>
                  </a:cubicBezTo>
                  <a:close/>
                  <a:moveTo>
                    <a:pt x="809732" y="2156681"/>
                  </a:moveTo>
                  <a:cubicBezTo>
                    <a:pt x="799832" y="2149907"/>
                    <a:pt x="785763" y="2153034"/>
                    <a:pt x="779510" y="2162934"/>
                  </a:cubicBezTo>
                  <a:cubicBezTo>
                    <a:pt x="756584" y="2198366"/>
                    <a:pt x="732615" y="2235362"/>
                    <a:pt x="709167" y="2274442"/>
                  </a:cubicBezTo>
                  <a:cubicBezTo>
                    <a:pt x="686761" y="2310916"/>
                    <a:pt x="663834" y="2348954"/>
                    <a:pt x="641429" y="2387512"/>
                  </a:cubicBezTo>
                  <a:cubicBezTo>
                    <a:pt x="638302" y="2392723"/>
                    <a:pt x="637260" y="2398454"/>
                    <a:pt x="639344" y="2404186"/>
                  </a:cubicBezTo>
                  <a:cubicBezTo>
                    <a:pt x="640908" y="2409918"/>
                    <a:pt x="644555" y="2414607"/>
                    <a:pt x="649245" y="2417734"/>
                  </a:cubicBezTo>
                  <a:cubicBezTo>
                    <a:pt x="652892" y="2419297"/>
                    <a:pt x="656539" y="2420339"/>
                    <a:pt x="660187" y="2420339"/>
                  </a:cubicBezTo>
                  <a:cubicBezTo>
                    <a:pt x="668003" y="2420339"/>
                    <a:pt x="675298" y="2416171"/>
                    <a:pt x="679466" y="2409397"/>
                  </a:cubicBezTo>
                  <a:cubicBezTo>
                    <a:pt x="699788" y="2373965"/>
                    <a:pt x="722714" y="2335927"/>
                    <a:pt x="746683" y="2297368"/>
                  </a:cubicBezTo>
                  <a:cubicBezTo>
                    <a:pt x="770131" y="2259331"/>
                    <a:pt x="793579" y="2222335"/>
                    <a:pt x="816506" y="2187424"/>
                  </a:cubicBezTo>
                  <a:cubicBezTo>
                    <a:pt x="822238" y="2177003"/>
                    <a:pt x="819632" y="2163455"/>
                    <a:pt x="809732" y="2156681"/>
                  </a:cubicBezTo>
                  <a:close/>
                  <a:moveTo>
                    <a:pt x="605996" y="2494330"/>
                  </a:moveTo>
                  <a:cubicBezTo>
                    <a:pt x="595575" y="2488598"/>
                    <a:pt x="581506" y="2492767"/>
                    <a:pt x="576296" y="2503188"/>
                  </a:cubicBezTo>
                  <a:cubicBezTo>
                    <a:pt x="573169" y="2508399"/>
                    <a:pt x="572648" y="2514131"/>
                    <a:pt x="574733" y="2519862"/>
                  </a:cubicBezTo>
                  <a:cubicBezTo>
                    <a:pt x="576296" y="2525594"/>
                    <a:pt x="579943" y="2529762"/>
                    <a:pt x="585154" y="2532889"/>
                  </a:cubicBezTo>
                  <a:cubicBezTo>
                    <a:pt x="588280" y="2534452"/>
                    <a:pt x="591928" y="2535494"/>
                    <a:pt x="595575" y="2535494"/>
                  </a:cubicBezTo>
                  <a:cubicBezTo>
                    <a:pt x="603391" y="2535494"/>
                    <a:pt x="610686" y="2531326"/>
                    <a:pt x="614854" y="2523510"/>
                  </a:cubicBezTo>
                  <a:cubicBezTo>
                    <a:pt x="620586" y="2512567"/>
                    <a:pt x="616418" y="2499541"/>
                    <a:pt x="605996" y="2494330"/>
                  </a:cubicBezTo>
                  <a:close/>
                  <a:moveTo>
                    <a:pt x="9044612" y="2619385"/>
                  </a:moveTo>
                  <a:cubicBezTo>
                    <a:pt x="9025854" y="2582390"/>
                    <a:pt x="9006574" y="2544352"/>
                    <a:pt x="8984169" y="2504230"/>
                  </a:cubicBezTo>
                  <a:cubicBezTo>
                    <a:pt x="8984169" y="2503709"/>
                    <a:pt x="8983648" y="2503188"/>
                    <a:pt x="8983648" y="2502667"/>
                  </a:cubicBezTo>
                  <a:cubicBezTo>
                    <a:pt x="8962284" y="2463587"/>
                    <a:pt x="8940400" y="2425029"/>
                    <a:pt x="8919036" y="2388033"/>
                  </a:cubicBezTo>
                  <a:cubicBezTo>
                    <a:pt x="8913304" y="2378133"/>
                    <a:pt x="8899235" y="2374486"/>
                    <a:pt x="8889335" y="2380217"/>
                  </a:cubicBezTo>
                  <a:cubicBezTo>
                    <a:pt x="8878914" y="2386470"/>
                    <a:pt x="8875267" y="2399497"/>
                    <a:pt x="8880998" y="2409918"/>
                  </a:cubicBezTo>
                  <a:cubicBezTo>
                    <a:pt x="8902883" y="2447435"/>
                    <a:pt x="8924247" y="2484951"/>
                    <a:pt x="8945089" y="2523510"/>
                  </a:cubicBezTo>
                  <a:cubicBezTo>
                    <a:pt x="8965410" y="2561026"/>
                    <a:pt x="8985732" y="2599585"/>
                    <a:pt x="9005532" y="2638665"/>
                  </a:cubicBezTo>
                  <a:cubicBezTo>
                    <a:pt x="9009701" y="2645960"/>
                    <a:pt x="9016996" y="2650649"/>
                    <a:pt x="9025332" y="2650649"/>
                  </a:cubicBezTo>
                  <a:cubicBezTo>
                    <a:pt x="9028459" y="2650649"/>
                    <a:pt x="9032106" y="2650128"/>
                    <a:pt x="9034712" y="2648565"/>
                  </a:cubicBezTo>
                  <a:cubicBezTo>
                    <a:pt x="9045654" y="2642833"/>
                    <a:pt x="9049822" y="2629807"/>
                    <a:pt x="9044612" y="2619385"/>
                  </a:cubicBezTo>
                  <a:close/>
                  <a:moveTo>
                    <a:pt x="9102450" y="2737146"/>
                  </a:moveTo>
                  <a:cubicBezTo>
                    <a:pt x="9097760" y="2726724"/>
                    <a:pt x="9084213" y="2722035"/>
                    <a:pt x="9073271" y="2726724"/>
                  </a:cubicBezTo>
                  <a:cubicBezTo>
                    <a:pt x="9068060" y="2729330"/>
                    <a:pt x="9063891" y="2733498"/>
                    <a:pt x="9062328" y="2738709"/>
                  </a:cubicBezTo>
                  <a:cubicBezTo>
                    <a:pt x="9060244" y="2744440"/>
                    <a:pt x="9060765" y="2750693"/>
                    <a:pt x="9062849" y="2755904"/>
                  </a:cubicBezTo>
                  <a:lnTo>
                    <a:pt x="9063891" y="2757467"/>
                  </a:lnTo>
                  <a:cubicBezTo>
                    <a:pt x="9068060" y="2764241"/>
                    <a:pt x="9075355" y="2768410"/>
                    <a:pt x="9083170" y="2768410"/>
                  </a:cubicBezTo>
                  <a:cubicBezTo>
                    <a:pt x="9086297" y="2768410"/>
                    <a:pt x="9089424" y="2767888"/>
                    <a:pt x="9092550" y="2766325"/>
                  </a:cubicBezTo>
                  <a:cubicBezTo>
                    <a:pt x="9102971" y="2761115"/>
                    <a:pt x="9107660" y="2748088"/>
                    <a:pt x="9102450" y="2737146"/>
                  </a:cubicBezTo>
                  <a:close/>
                  <a:moveTo>
                    <a:pt x="544511" y="2610006"/>
                  </a:moveTo>
                  <a:cubicBezTo>
                    <a:pt x="534090" y="2604796"/>
                    <a:pt x="520542" y="2608964"/>
                    <a:pt x="515331" y="2619385"/>
                  </a:cubicBezTo>
                  <a:cubicBezTo>
                    <a:pt x="493968" y="2661592"/>
                    <a:pt x="474688" y="2700671"/>
                    <a:pt x="456972" y="2738188"/>
                  </a:cubicBezTo>
                  <a:cubicBezTo>
                    <a:pt x="437693" y="2778831"/>
                    <a:pt x="418935" y="2819474"/>
                    <a:pt x="402261" y="2858032"/>
                  </a:cubicBezTo>
                  <a:cubicBezTo>
                    <a:pt x="397571" y="2868975"/>
                    <a:pt x="402782" y="2882001"/>
                    <a:pt x="413724" y="2886691"/>
                  </a:cubicBezTo>
                  <a:cubicBezTo>
                    <a:pt x="416329" y="2887733"/>
                    <a:pt x="419456" y="2888254"/>
                    <a:pt x="422582" y="2888254"/>
                  </a:cubicBezTo>
                  <a:cubicBezTo>
                    <a:pt x="431440" y="2888254"/>
                    <a:pt x="439256" y="2883043"/>
                    <a:pt x="442383" y="2875227"/>
                  </a:cubicBezTo>
                  <a:cubicBezTo>
                    <a:pt x="459057" y="2837190"/>
                    <a:pt x="476773" y="2798110"/>
                    <a:pt x="496573" y="2755904"/>
                  </a:cubicBezTo>
                  <a:cubicBezTo>
                    <a:pt x="516373" y="2713698"/>
                    <a:pt x="535132" y="2675660"/>
                    <a:pt x="553890" y="2638665"/>
                  </a:cubicBezTo>
                  <a:cubicBezTo>
                    <a:pt x="559101" y="2628765"/>
                    <a:pt x="554932" y="2615217"/>
                    <a:pt x="544511" y="2610006"/>
                  </a:cubicBezTo>
                  <a:close/>
                  <a:moveTo>
                    <a:pt x="378813" y="2967977"/>
                  </a:moveTo>
                  <a:cubicBezTo>
                    <a:pt x="369434" y="2963808"/>
                    <a:pt x="357449" y="2967977"/>
                    <a:pt x="352239" y="2977356"/>
                  </a:cubicBezTo>
                  <a:lnTo>
                    <a:pt x="351718" y="2976835"/>
                  </a:lnTo>
                  <a:lnTo>
                    <a:pt x="350154" y="2979961"/>
                  </a:lnTo>
                  <a:cubicBezTo>
                    <a:pt x="345986" y="2991425"/>
                    <a:pt x="351197" y="3003930"/>
                    <a:pt x="362139" y="3008620"/>
                  </a:cubicBezTo>
                  <a:cubicBezTo>
                    <a:pt x="364744" y="3009662"/>
                    <a:pt x="367349" y="3010183"/>
                    <a:pt x="369955" y="3010183"/>
                  </a:cubicBezTo>
                  <a:cubicBezTo>
                    <a:pt x="379334" y="3010183"/>
                    <a:pt x="387150" y="3004972"/>
                    <a:pt x="390276" y="2996635"/>
                  </a:cubicBezTo>
                  <a:cubicBezTo>
                    <a:pt x="395487" y="2985172"/>
                    <a:pt x="390276" y="2972145"/>
                    <a:pt x="378813" y="2967977"/>
                  </a:cubicBezTo>
                  <a:close/>
                  <a:moveTo>
                    <a:pt x="9256164" y="3100327"/>
                  </a:moveTo>
                  <a:cubicBezTo>
                    <a:pt x="9241052" y="3059684"/>
                    <a:pt x="9224900" y="3018520"/>
                    <a:pt x="9208226" y="2977877"/>
                  </a:cubicBezTo>
                  <a:cubicBezTo>
                    <a:pt x="9192073" y="2937755"/>
                    <a:pt x="9174878" y="2897633"/>
                    <a:pt x="9156640" y="2856990"/>
                  </a:cubicBezTo>
                  <a:cubicBezTo>
                    <a:pt x="9151951" y="2846569"/>
                    <a:pt x="9138924" y="2841358"/>
                    <a:pt x="9127982" y="2846048"/>
                  </a:cubicBezTo>
                  <a:cubicBezTo>
                    <a:pt x="9117040" y="2850737"/>
                    <a:pt x="9112351" y="2863764"/>
                    <a:pt x="9117040" y="2874706"/>
                  </a:cubicBezTo>
                  <a:cubicBezTo>
                    <a:pt x="9135798" y="2917434"/>
                    <a:pt x="9152472" y="2956513"/>
                    <a:pt x="9167583" y="2994551"/>
                  </a:cubicBezTo>
                  <a:cubicBezTo>
                    <a:pt x="9184257" y="3035194"/>
                    <a:pt x="9200410" y="3075837"/>
                    <a:pt x="9215521" y="3115959"/>
                  </a:cubicBezTo>
                  <a:cubicBezTo>
                    <a:pt x="9218647" y="3124817"/>
                    <a:pt x="9226984" y="3130549"/>
                    <a:pt x="9235321" y="3130549"/>
                  </a:cubicBezTo>
                  <a:cubicBezTo>
                    <a:pt x="9237926" y="3130549"/>
                    <a:pt x="9240532" y="3130027"/>
                    <a:pt x="9243137" y="3128985"/>
                  </a:cubicBezTo>
                  <a:cubicBezTo>
                    <a:pt x="9254601" y="3123775"/>
                    <a:pt x="9260332" y="3111269"/>
                    <a:pt x="9256164" y="3100327"/>
                  </a:cubicBezTo>
                  <a:close/>
                  <a:moveTo>
                    <a:pt x="9300975" y="3224340"/>
                  </a:moveTo>
                  <a:cubicBezTo>
                    <a:pt x="9296807" y="3213397"/>
                    <a:pt x="9283780" y="3207145"/>
                    <a:pt x="9273359" y="3210792"/>
                  </a:cubicBezTo>
                  <a:cubicBezTo>
                    <a:pt x="9267627" y="3212355"/>
                    <a:pt x="9263459" y="3216524"/>
                    <a:pt x="9260853" y="3221735"/>
                  </a:cubicBezTo>
                  <a:cubicBezTo>
                    <a:pt x="9258769" y="3226945"/>
                    <a:pt x="9258248" y="3233198"/>
                    <a:pt x="9259811" y="3238930"/>
                  </a:cubicBezTo>
                  <a:cubicBezTo>
                    <a:pt x="9262938" y="3247788"/>
                    <a:pt x="9271274" y="3253519"/>
                    <a:pt x="9280132" y="3253519"/>
                  </a:cubicBezTo>
                  <a:cubicBezTo>
                    <a:pt x="9282738" y="3253519"/>
                    <a:pt x="9284822" y="3252998"/>
                    <a:pt x="9286906" y="3252477"/>
                  </a:cubicBezTo>
                  <a:cubicBezTo>
                    <a:pt x="9292638" y="3250393"/>
                    <a:pt x="9296807" y="3246224"/>
                    <a:pt x="9299412" y="3241014"/>
                  </a:cubicBezTo>
                  <a:cubicBezTo>
                    <a:pt x="9302017" y="3235803"/>
                    <a:pt x="9302538" y="3229550"/>
                    <a:pt x="9300975" y="3224340"/>
                  </a:cubicBezTo>
                  <a:close/>
                  <a:moveTo>
                    <a:pt x="342859" y="3101369"/>
                  </a:moveTo>
                  <a:cubicBezTo>
                    <a:pt x="340254" y="3096158"/>
                    <a:pt x="336086" y="3091990"/>
                    <a:pt x="330875" y="3089905"/>
                  </a:cubicBezTo>
                  <a:cubicBezTo>
                    <a:pt x="319933" y="3085737"/>
                    <a:pt x="306906" y="3091469"/>
                    <a:pt x="303259" y="3102411"/>
                  </a:cubicBezTo>
                  <a:cubicBezTo>
                    <a:pt x="288669" y="3142012"/>
                    <a:pt x="273037" y="3183697"/>
                    <a:pt x="258447" y="3226945"/>
                  </a:cubicBezTo>
                  <a:lnTo>
                    <a:pt x="257926" y="3227987"/>
                  </a:lnTo>
                  <a:cubicBezTo>
                    <a:pt x="243858" y="3269151"/>
                    <a:pt x="230310" y="3310836"/>
                    <a:pt x="217283" y="3352521"/>
                  </a:cubicBezTo>
                  <a:cubicBezTo>
                    <a:pt x="215720" y="3358253"/>
                    <a:pt x="216241" y="3364506"/>
                    <a:pt x="218846" y="3369716"/>
                  </a:cubicBezTo>
                  <a:cubicBezTo>
                    <a:pt x="221452" y="3374406"/>
                    <a:pt x="225620" y="3378574"/>
                    <a:pt x="231352" y="3380138"/>
                  </a:cubicBezTo>
                  <a:cubicBezTo>
                    <a:pt x="233436" y="3381180"/>
                    <a:pt x="235520" y="3381180"/>
                    <a:pt x="238126" y="3381180"/>
                  </a:cubicBezTo>
                  <a:cubicBezTo>
                    <a:pt x="244900" y="3381180"/>
                    <a:pt x="250631" y="3378574"/>
                    <a:pt x="254800" y="3373885"/>
                  </a:cubicBezTo>
                  <a:lnTo>
                    <a:pt x="254800" y="3380138"/>
                  </a:lnTo>
                  <a:lnTo>
                    <a:pt x="258968" y="3366069"/>
                  </a:lnTo>
                  <a:cubicBezTo>
                    <a:pt x="271995" y="3324905"/>
                    <a:pt x="285543" y="3283220"/>
                    <a:pt x="299611" y="3241535"/>
                  </a:cubicBezTo>
                  <a:cubicBezTo>
                    <a:pt x="314201" y="3199329"/>
                    <a:pt x="328791" y="3158165"/>
                    <a:pt x="343381" y="3118564"/>
                  </a:cubicBezTo>
                  <a:cubicBezTo>
                    <a:pt x="345465" y="3112311"/>
                    <a:pt x="344944" y="3106579"/>
                    <a:pt x="342859" y="3101369"/>
                  </a:cubicBezTo>
                  <a:close/>
                  <a:moveTo>
                    <a:pt x="219368" y="3474450"/>
                  </a:moveTo>
                  <a:cubicBezTo>
                    <a:pt x="216241" y="3469240"/>
                    <a:pt x="212073" y="3465592"/>
                    <a:pt x="206341" y="3464029"/>
                  </a:cubicBezTo>
                  <a:cubicBezTo>
                    <a:pt x="194357" y="3460902"/>
                    <a:pt x="182372" y="3468197"/>
                    <a:pt x="179246" y="3479140"/>
                  </a:cubicBezTo>
                  <a:cubicBezTo>
                    <a:pt x="177682" y="3484351"/>
                    <a:pt x="178204" y="3490603"/>
                    <a:pt x="181330" y="3495814"/>
                  </a:cubicBezTo>
                  <a:cubicBezTo>
                    <a:pt x="183935" y="3500503"/>
                    <a:pt x="188625" y="3504672"/>
                    <a:pt x="194357" y="3506235"/>
                  </a:cubicBezTo>
                  <a:cubicBezTo>
                    <a:pt x="195920" y="3506756"/>
                    <a:pt x="198525" y="3506756"/>
                    <a:pt x="200088" y="3506756"/>
                  </a:cubicBezTo>
                  <a:cubicBezTo>
                    <a:pt x="209467" y="3506756"/>
                    <a:pt x="218325" y="3499982"/>
                    <a:pt x="221452" y="3491124"/>
                  </a:cubicBezTo>
                  <a:lnTo>
                    <a:pt x="221973" y="3487998"/>
                  </a:lnTo>
                  <a:cubicBezTo>
                    <a:pt x="222494" y="3483308"/>
                    <a:pt x="221452" y="3478619"/>
                    <a:pt x="219368" y="3474450"/>
                  </a:cubicBezTo>
                  <a:close/>
                  <a:moveTo>
                    <a:pt x="9413525" y="3602632"/>
                  </a:moveTo>
                  <a:cubicBezTo>
                    <a:pt x="9402582" y="3559383"/>
                    <a:pt x="9391119" y="3516656"/>
                    <a:pt x="9379655" y="3475492"/>
                  </a:cubicBezTo>
                  <a:cubicBezTo>
                    <a:pt x="9366629" y="3429118"/>
                    <a:pt x="9354124" y="3387954"/>
                    <a:pt x="9341618" y="3349395"/>
                  </a:cubicBezTo>
                  <a:cubicBezTo>
                    <a:pt x="9337970" y="3337932"/>
                    <a:pt x="9325465" y="3331679"/>
                    <a:pt x="9314002" y="3334805"/>
                  </a:cubicBezTo>
                  <a:cubicBezTo>
                    <a:pt x="9308791" y="3336368"/>
                    <a:pt x="9304101" y="3340537"/>
                    <a:pt x="9301496" y="3345226"/>
                  </a:cubicBezTo>
                  <a:cubicBezTo>
                    <a:pt x="9298890" y="3350437"/>
                    <a:pt x="9298370" y="3356690"/>
                    <a:pt x="9299933" y="3361900"/>
                  </a:cubicBezTo>
                  <a:cubicBezTo>
                    <a:pt x="9311917" y="3401501"/>
                    <a:pt x="9324944" y="3443707"/>
                    <a:pt x="9336929" y="3486956"/>
                  </a:cubicBezTo>
                  <a:cubicBezTo>
                    <a:pt x="9348913" y="3527599"/>
                    <a:pt x="9359856" y="3569805"/>
                    <a:pt x="9370797" y="3613053"/>
                  </a:cubicBezTo>
                  <a:cubicBezTo>
                    <a:pt x="9373403" y="3622432"/>
                    <a:pt x="9382261" y="3629206"/>
                    <a:pt x="9391640" y="3629206"/>
                  </a:cubicBezTo>
                  <a:cubicBezTo>
                    <a:pt x="9393724" y="3629206"/>
                    <a:pt x="9395808" y="3629206"/>
                    <a:pt x="9397371" y="3628685"/>
                  </a:cubicBezTo>
                  <a:cubicBezTo>
                    <a:pt x="9408835" y="3626079"/>
                    <a:pt x="9416651" y="3614095"/>
                    <a:pt x="9413525" y="3602632"/>
                  </a:cubicBezTo>
                  <a:close/>
                  <a:moveTo>
                    <a:pt x="9443747" y="3730292"/>
                  </a:moveTo>
                  <a:lnTo>
                    <a:pt x="9439578" y="3711013"/>
                  </a:lnTo>
                  <a:lnTo>
                    <a:pt x="9439578" y="3721434"/>
                  </a:lnTo>
                  <a:cubicBezTo>
                    <a:pt x="9434888" y="3715182"/>
                    <a:pt x="9426030" y="3712055"/>
                    <a:pt x="9417694" y="3714139"/>
                  </a:cubicBezTo>
                  <a:cubicBezTo>
                    <a:pt x="9411962" y="3715702"/>
                    <a:pt x="9407272" y="3718829"/>
                    <a:pt x="9404145" y="3723518"/>
                  </a:cubicBezTo>
                  <a:cubicBezTo>
                    <a:pt x="9401540" y="3727687"/>
                    <a:pt x="9400498" y="3732376"/>
                    <a:pt x="9401019" y="3737066"/>
                  </a:cubicBezTo>
                  <a:lnTo>
                    <a:pt x="9400498" y="3737066"/>
                  </a:lnTo>
                  <a:lnTo>
                    <a:pt x="9401019" y="3739671"/>
                  </a:lnTo>
                  <a:cubicBezTo>
                    <a:pt x="9403103" y="3749572"/>
                    <a:pt x="9412483" y="3756866"/>
                    <a:pt x="9422383" y="3756866"/>
                  </a:cubicBezTo>
                  <a:cubicBezTo>
                    <a:pt x="9423946" y="3756866"/>
                    <a:pt x="9426030" y="3756866"/>
                    <a:pt x="9427072" y="3756345"/>
                  </a:cubicBezTo>
                  <a:cubicBezTo>
                    <a:pt x="9439057" y="3753740"/>
                    <a:pt x="9446351" y="3742277"/>
                    <a:pt x="9443747" y="3730292"/>
                  </a:cubicBezTo>
                  <a:close/>
                  <a:moveTo>
                    <a:pt x="185498" y="3600547"/>
                  </a:moveTo>
                  <a:cubicBezTo>
                    <a:pt x="182372" y="3595337"/>
                    <a:pt x="177682" y="3591689"/>
                    <a:pt x="171951" y="3590648"/>
                  </a:cubicBezTo>
                  <a:cubicBezTo>
                    <a:pt x="159966" y="3587521"/>
                    <a:pt x="148503" y="3594816"/>
                    <a:pt x="145377" y="3606279"/>
                  </a:cubicBezTo>
                  <a:cubicBezTo>
                    <a:pt x="134434" y="3649528"/>
                    <a:pt x="124013" y="3692776"/>
                    <a:pt x="115155" y="3734461"/>
                  </a:cubicBezTo>
                  <a:cubicBezTo>
                    <a:pt x="105776" y="3775104"/>
                    <a:pt x="97439" y="3817310"/>
                    <a:pt x="88060" y="3863163"/>
                  </a:cubicBezTo>
                  <a:cubicBezTo>
                    <a:pt x="87018" y="3868895"/>
                    <a:pt x="88060" y="3874627"/>
                    <a:pt x="91707" y="3879316"/>
                  </a:cubicBezTo>
                  <a:cubicBezTo>
                    <a:pt x="94833" y="3884527"/>
                    <a:pt x="100044" y="3887653"/>
                    <a:pt x="105776" y="3888695"/>
                  </a:cubicBezTo>
                  <a:cubicBezTo>
                    <a:pt x="107339" y="3888695"/>
                    <a:pt x="108381" y="3889217"/>
                    <a:pt x="109944" y="3889217"/>
                  </a:cubicBezTo>
                  <a:cubicBezTo>
                    <a:pt x="120366" y="3889217"/>
                    <a:pt x="129745" y="3881922"/>
                    <a:pt x="131308" y="3871501"/>
                  </a:cubicBezTo>
                  <a:cubicBezTo>
                    <a:pt x="140166" y="3828252"/>
                    <a:pt x="148503" y="3786046"/>
                    <a:pt x="158403" y="3743840"/>
                  </a:cubicBezTo>
                  <a:cubicBezTo>
                    <a:pt x="167782" y="3700592"/>
                    <a:pt x="178204" y="3657864"/>
                    <a:pt x="188625" y="3617221"/>
                  </a:cubicBezTo>
                  <a:cubicBezTo>
                    <a:pt x="188625" y="3611490"/>
                    <a:pt x="188104" y="3605237"/>
                    <a:pt x="185498" y="3600547"/>
                  </a:cubicBezTo>
                  <a:close/>
                  <a:moveTo>
                    <a:pt x="104213" y="3983529"/>
                  </a:moveTo>
                  <a:cubicBezTo>
                    <a:pt x="100565" y="3978840"/>
                    <a:pt x="95355" y="3975713"/>
                    <a:pt x="89623" y="3974671"/>
                  </a:cubicBezTo>
                  <a:cubicBezTo>
                    <a:pt x="77638" y="3972587"/>
                    <a:pt x="66696" y="3980924"/>
                    <a:pt x="64612" y="3992387"/>
                  </a:cubicBezTo>
                  <a:cubicBezTo>
                    <a:pt x="63570" y="3998119"/>
                    <a:pt x="65133" y="4003850"/>
                    <a:pt x="68259" y="4008540"/>
                  </a:cubicBezTo>
                  <a:cubicBezTo>
                    <a:pt x="71907" y="4013230"/>
                    <a:pt x="77117" y="4016356"/>
                    <a:pt x="82849" y="4017398"/>
                  </a:cubicBezTo>
                  <a:cubicBezTo>
                    <a:pt x="84412" y="4017919"/>
                    <a:pt x="84933" y="4017919"/>
                    <a:pt x="86496" y="4017919"/>
                  </a:cubicBezTo>
                  <a:cubicBezTo>
                    <a:pt x="97439" y="4017919"/>
                    <a:pt x="106297" y="4010624"/>
                    <a:pt x="107860" y="3999682"/>
                  </a:cubicBezTo>
                  <a:lnTo>
                    <a:pt x="108381" y="3997077"/>
                  </a:lnTo>
                  <a:cubicBezTo>
                    <a:pt x="107860" y="3992387"/>
                    <a:pt x="106818" y="3987698"/>
                    <a:pt x="104213" y="3983529"/>
                  </a:cubicBezTo>
                  <a:close/>
                  <a:moveTo>
                    <a:pt x="9494289" y="3989261"/>
                  </a:moveTo>
                  <a:cubicBezTo>
                    <a:pt x="9486994" y="3946013"/>
                    <a:pt x="9479179" y="3902764"/>
                    <a:pt x="9470841" y="3859516"/>
                  </a:cubicBezTo>
                  <a:cubicBezTo>
                    <a:pt x="9468757" y="3847531"/>
                    <a:pt x="9457294" y="3839716"/>
                    <a:pt x="9445310" y="3842321"/>
                  </a:cubicBezTo>
                  <a:cubicBezTo>
                    <a:pt x="9439578" y="3843884"/>
                    <a:pt x="9434888" y="3846489"/>
                    <a:pt x="9431762" y="3851700"/>
                  </a:cubicBezTo>
                  <a:cubicBezTo>
                    <a:pt x="9429156" y="3855347"/>
                    <a:pt x="9427593" y="3858995"/>
                    <a:pt x="9427593" y="3863685"/>
                  </a:cubicBezTo>
                  <a:lnTo>
                    <a:pt x="9427593" y="3865248"/>
                  </a:lnTo>
                  <a:lnTo>
                    <a:pt x="9428115" y="3867853"/>
                  </a:lnTo>
                  <a:cubicBezTo>
                    <a:pt x="9435930" y="3908496"/>
                    <a:pt x="9443225" y="3949660"/>
                    <a:pt x="9451042" y="3993950"/>
                  </a:cubicBezTo>
                  <a:lnTo>
                    <a:pt x="9451042" y="3996035"/>
                  </a:lnTo>
                  <a:lnTo>
                    <a:pt x="9451562" y="3997077"/>
                  </a:lnTo>
                  <a:cubicBezTo>
                    <a:pt x="9458336" y="4039804"/>
                    <a:pt x="9465110" y="4082531"/>
                    <a:pt x="9470841" y="4125258"/>
                  </a:cubicBezTo>
                  <a:cubicBezTo>
                    <a:pt x="9472405" y="4135680"/>
                    <a:pt x="9481784" y="4144017"/>
                    <a:pt x="9492726" y="4144017"/>
                  </a:cubicBezTo>
                  <a:cubicBezTo>
                    <a:pt x="9493768" y="4144017"/>
                    <a:pt x="9494811" y="4144017"/>
                    <a:pt x="9495853" y="4143495"/>
                  </a:cubicBezTo>
                  <a:cubicBezTo>
                    <a:pt x="9507837" y="4141932"/>
                    <a:pt x="9515653" y="4130990"/>
                    <a:pt x="9514090" y="4119006"/>
                  </a:cubicBezTo>
                  <a:cubicBezTo>
                    <a:pt x="9507837" y="4073673"/>
                    <a:pt x="9501584" y="4030946"/>
                    <a:pt x="9494289" y="3989261"/>
                  </a:cubicBezTo>
                  <a:close/>
                  <a:moveTo>
                    <a:pt x="9506274" y="4231034"/>
                  </a:moveTo>
                  <a:cubicBezTo>
                    <a:pt x="9494289" y="4232598"/>
                    <a:pt x="9485953" y="4243019"/>
                    <a:pt x="9486994" y="4255003"/>
                  </a:cubicBezTo>
                  <a:cubicBezTo>
                    <a:pt x="9488557" y="4266466"/>
                    <a:pt x="9497416" y="4274804"/>
                    <a:pt x="9508880" y="4274804"/>
                  </a:cubicBezTo>
                  <a:lnTo>
                    <a:pt x="9510963" y="4274804"/>
                  </a:lnTo>
                  <a:cubicBezTo>
                    <a:pt x="9522948" y="4273241"/>
                    <a:pt x="9531806" y="4262819"/>
                    <a:pt x="9530764" y="4250314"/>
                  </a:cubicBezTo>
                  <a:cubicBezTo>
                    <a:pt x="9529201" y="4238329"/>
                    <a:pt x="9518779" y="4229471"/>
                    <a:pt x="9506274" y="4231034"/>
                  </a:cubicBezTo>
                  <a:close/>
                  <a:moveTo>
                    <a:pt x="69822" y="4104416"/>
                  </a:moveTo>
                  <a:cubicBezTo>
                    <a:pt x="57838" y="4102332"/>
                    <a:pt x="46896" y="4111190"/>
                    <a:pt x="44811" y="4122653"/>
                  </a:cubicBezTo>
                  <a:cubicBezTo>
                    <a:pt x="39080" y="4164859"/>
                    <a:pt x="33348" y="4208628"/>
                    <a:pt x="28658" y="4253440"/>
                  </a:cubicBezTo>
                  <a:cubicBezTo>
                    <a:pt x="23969" y="4297209"/>
                    <a:pt x="19800" y="4341500"/>
                    <a:pt x="16674" y="4384227"/>
                  </a:cubicBezTo>
                  <a:cubicBezTo>
                    <a:pt x="15632" y="4389959"/>
                    <a:pt x="17716" y="4395690"/>
                    <a:pt x="21364" y="4399859"/>
                  </a:cubicBezTo>
                  <a:cubicBezTo>
                    <a:pt x="25532" y="4404027"/>
                    <a:pt x="30743" y="4407154"/>
                    <a:pt x="35953" y="4407675"/>
                  </a:cubicBezTo>
                  <a:lnTo>
                    <a:pt x="37517" y="4407675"/>
                  </a:lnTo>
                  <a:cubicBezTo>
                    <a:pt x="48980" y="4407675"/>
                    <a:pt x="58359" y="4398817"/>
                    <a:pt x="59401" y="4387874"/>
                  </a:cubicBezTo>
                  <a:cubicBezTo>
                    <a:pt x="63049" y="4344626"/>
                    <a:pt x="67217" y="4300857"/>
                    <a:pt x="71907" y="4258130"/>
                  </a:cubicBezTo>
                  <a:cubicBezTo>
                    <a:pt x="77117" y="4210713"/>
                    <a:pt x="82328" y="4168507"/>
                    <a:pt x="87539" y="4128385"/>
                  </a:cubicBezTo>
                  <a:cubicBezTo>
                    <a:pt x="89623" y="4117442"/>
                    <a:pt x="81286" y="4105979"/>
                    <a:pt x="69822" y="4104416"/>
                  </a:cubicBezTo>
                  <a:close/>
                  <a:moveTo>
                    <a:pt x="30222" y="4495734"/>
                  </a:moveTo>
                  <a:cubicBezTo>
                    <a:pt x="18237" y="4495213"/>
                    <a:pt x="7816" y="4504072"/>
                    <a:pt x="7295" y="4516056"/>
                  </a:cubicBezTo>
                  <a:cubicBezTo>
                    <a:pt x="6253" y="4528040"/>
                    <a:pt x="16153" y="4538462"/>
                    <a:pt x="27616" y="4538983"/>
                  </a:cubicBezTo>
                  <a:lnTo>
                    <a:pt x="29180" y="4538983"/>
                  </a:lnTo>
                  <a:cubicBezTo>
                    <a:pt x="40643" y="4538983"/>
                    <a:pt x="50022" y="4529604"/>
                    <a:pt x="51064" y="4518140"/>
                  </a:cubicBezTo>
                  <a:cubicBezTo>
                    <a:pt x="51585" y="4506677"/>
                    <a:pt x="42206" y="4496256"/>
                    <a:pt x="30222" y="4495734"/>
                  </a:cubicBezTo>
                  <a:close/>
                  <a:moveTo>
                    <a:pt x="9552127" y="4512930"/>
                  </a:moveTo>
                  <a:cubicBezTo>
                    <a:pt x="9549522" y="4468118"/>
                    <a:pt x="9546395" y="4424349"/>
                    <a:pt x="9542748" y="4381621"/>
                  </a:cubicBezTo>
                  <a:cubicBezTo>
                    <a:pt x="9541706" y="4369637"/>
                    <a:pt x="9530764" y="4360779"/>
                    <a:pt x="9519301" y="4361821"/>
                  </a:cubicBezTo>
                  <a:cubicBezTo>
                    <a:pt x="9513047" y="4362342"/>
                    <a:pt x="9507837" y="4364947"/>
                    <a:pt x="9504711" y="4369116"/>
                  </a:cubicBezTo>
                  <a:cubicBezTo>
                    <a:pt x="9500542" y="4373285"/>
                    <a:pt x="9498979" y="4379016"/>
                    <a:pt x="9499500" y="4385269"/>
                  </a:cubicBezTo>
                  <a:cubicBezTo>
                    <a:pt x="9503148" y="4426433"/>
                    <a:pt x="9506274" y="4470202"/>
                    <a:pt x="9508880" y="4515535"/>
                  </a:cubicBezTo>
                  <a:cubicBezTo>
                    <a:pt x="9510963" y="4557741"/>
                    <a:pt x="9513047" y="4601510"/>
                    <a:pt x="9514090" y="4645801"/>
                  </a:cubicBezTo>
                  <a:cubicBezTo>
                    <a:pt x="9514610" y="4657785"/>
                    <a:pt x="9523990" y="4666643"/>
                    <a:pt x="9535974" y="4666643"/>
                  </a:cubicBezTo>
                  <a:lnTo>
                    <a:pt x="9537017" y="4666643"/>
                  </a:lnTo>
                  <a:cubicBezTo>
                    <a:pt x="9549001" y="4666122"/>
                    <a:pt x="9558380" y="4656222"/>
                    <a:pt x="9557859" y="4644237"/>
                  </a:cubicBezTo>
                  <a:cubicBezTo>
                    <a:pt x="9556296" y="4599947"/>
                    <a:pt x="9554212" y="4556178"/>
                    <a:pt x="9552127" y="4512930"/>
                  </a:cubicBezTo>
                  <a:close/>
                  <a:moveTo>
                    <a:pt x="9537537" y="4754182"/>
                  </a:moveTo>
                  <a:cubicBezTo>
                    <a:pt x="9525553" y="4754182"/>
                    <a:pt x="9515653" y="4763561"/>
                    <a:pt x="9515653" y="4776067"/>
                  </a:cubicBezTo>
                  <a:lnTo>
                    <a:pt x="9515653" y="4777109"/>
                  </a:lnTo>
                  <a:cubicBezTo>
                    <a:pt x="9516695" y="4788572"/>
                    <a:pt x="9526074" y="4797951"/>
                    <a:pt x="9537537" y="4797951"/>
                  </a:cubicBezTo>
                  <a:cubicBezTo>
                    <a:pt x="9549001" y="4797430"/>
                    <a:pt x="9557859" y="4789093"/>
                    <a:pt x="9559422" y="4778151"/>
                  </a:cubicBezTo>
                  <a:lnTo>
                    <a:pt x="9559422" y="4776067"/>
                  </a:lnTo>
                  <a:cubicBezTo>
                    <a:pt x="9559422" y="4763561"/>
                    <a:pt x="9549522" y="4754182"/>
                    <a:pt x="9537537" y="4754182"/>
                  </a:cubicBezTo>
                  <a:close/>
                  <a:moveTo>
                    <a:pt x="24490" y="4626521"/>
                  </a:moveTo>
                  <a:lnTo>
                    <a:pt x="24490" y="4626521"/>
                  </a:lnTo>
                  <a:cubicBezTo>
                    <a:pt x="11984" y="4626521"/>
                    <a:pt x="2084" y="4635901"/>
                    <a:pt x="2084" y="4647364"/>
                  </a:cubicBezTo>
                  <a:cubicBezTo>
                    <a:pt x="1042" y="4670290"/>
                    <a:pt x="521" y="4694259"/>
                    <a:pt x="521" y="4717707"/>
                  </a:cubicBezTo>
                  <a:cubicBezTo>
                    <a:pt x="0" y="4738029"/>
                    <a:pt x="0" y="4758350"/>
                    <a:pt x="0" y="4779193"/>
                  </a:cubicBezTo>
                  <a:cubicBezTo>
                    <a:pt x="0" y="4791177"/>
                    <a:pt x="9379" y="4801077"/>
                    <a:pt x="21885" y="4801077"/>
                  </a:cubicBezTo>
                  <a:cubicBezTo>
                    <a:pt x="33869" y="4801077"/>
                    <a:pt x="43769" y="4791698"/>
                    <a:pt x="43769" y="4779193"/>
                  </a:cubicBezTo>
                  <a:cubicBezTo>
                    <a:pt x="43769" y="4758871"/>
                    <a:pt x="43769" y="4738550"/>
                    <a:pt x="44290" y="4718229"/>
                  </a:cubicBezTo>
                  <a:cubicBezTo>
                    <a:pt x="44290" y="4694781"/>
                    <a:pt x="44811" y="4671333"/>
                    <a:pt x="45854" y="4648406"/>
                  </a:cubicBezTo>
                  <a:cubicBezTo>
                    <a:pt x="45854" y="4636422"/>
                    <a:pt x="36474" y="4626521"/>
                    <a:pt x="24490" y="4626521"/>
                  </a:cubicBezTo>
                  <a:close/>
                </a:path>
              </a:pathLst>
            </a:custGeom>
            <a:solidFill>
              <a:srgbClr val="F1F2F2"/>
            </a:solidFill>
            <a:ln w="52104" cap="flat">
              <a:noFill/>
              <a:prstDash val="solid"/>
              <a:miter/>
            </a:ln>
          </p:spPr>
          <p:txBody>
            <a:bodyPr rtlCol="0" anchor="ctr"/>
            <a:lstStyle/>
            <a:p>
              <a:endParaRPr lang="en-IN"/>
            </a:p>
          </p:txBody>
        </p:sp>
        <p:sp>
          <p:nvSpPr>
            <p:cNvPr id="14" name="Freeform: Shape 13">
              <a:extLst>
                <a:ext uri="{FF2B5EF4-FFF2-40B4-BE49-F238E27FC236}">
                  <a16:creationId xmlns:a16="http://schemas.microsoft.com/office/drawing/2014/main" id="{D6CDE8B6-FE60-1FC5-082E-EDA9711FC8A0}"/>
                </a:ext>
              </a:extLst>
            </p:cNvPr>
            <p:cNvSpPr/>
            <p:nvPr/>
          </p:nvSpPr>
          <p:spPr>
            <a:xfrm>
              <a:off x="9671172" y="10682433"/>
              <a:ext cx="9645918" cy="4888615"/>
            </a:xfrm>
            <a:custGeom>
              <a:avLst/>
              <a:gdLst>
                <a:gd name="connsiteX0" fmla="*/ 4822960 w 9645918"/>
                <a:gd name="connsiteY0" fmla="*/ 4888616 h 4888615"/>
                <a:gd name="connsiteX1" fmla="*/ 0 w 9645918"/>
                <a:gd name="connsiteY1" fmla="*/ 65133 h 4888615"/>
                <a:gd name="connsiteX2" fmla="*/ 65133 w 9645918"/>
                <a:gd name="connsiteY2" fmla="*/ 0 h 4888615"/>
                <a:gd name="connsiteX3" fmla="*/ 130266 w 9645918"/>
                <a:gd name="connsiteY3" fmla="*/ 65133 h 4888615"/>
                <a:gd name="connsiteX4" fmla="*/ 4822960 w 9645918"/>
                <a:gd name="connsiteY4" fmla="*/ 4757829 h 4888615"/>
                <a:gd name="connsiteX5" fmla="*/ 9515653 w 9645918"/>
                <a:gd name="connsiteY5" fmla="*/ 65133 h 4888615"/>
                <a:gd name="connsiteX6" fmla="*/ 9580786 w 9645918"/>
                <a:gd name="connsiteY6" fmla="*/ 0 h 4888615"/>
                <a:gd name="connsiteX7" fmla="*/ 9645919 w 9645918"/>
                <a:gd name="connsiteY7" fmla="*/ 65133 h 4888615"/>
                <a:gd name="connsiteX8" fmla="*/ 4822960 w 9645918"/>
                <a:gd name="connsiteY8" fmla="*/ 4888616 h 488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45918" h="4888615">
                  <a:moveTo>
                    <a:pt x="4822960" y="4888616"/>
                  </a:moveTo>
                  <a:cubicBezTo>
                    <a:pt x="2163454" y="4888616"/>
                    <a:pt x="0" y="2724640"/>
                    <a:pt x="0" y="65133"/>
                  </a:cubicBezTo>
                  <a:cubicBezTo>
                    <a:pt x="0" y="29179"/>
                    <a:pt x="29180" y="0"/>
                    <a:pt x="65133" y="0"/>
                  </a:cubicBezTo>
                  <a:cubicBezTo>
                    <a:pt x="101086" y="0"/>
                    <a:pt x="130266" y="29179"/>
                    <a:pt x="130266" y="65133"/>
                  </a:cubicBezTo>
                  <a:cubicBezTo>
                    <a:pt x="130266" y="2652734"/>
                    <a:pt x="2235361" y="4757829"/>
                    <a:pt x="4822960" y="4757829"/>
                  </a:cubicBezTo>
                  <a:cubicBezTo>
                    <a:pt x="7410559" y="4757829"/>
                    <a:pt x="9515653" y="2652734"/>
                    <a:pt x="9515653" y="65133"/>
                  </a:cubicBezTo>
                  <a:cubicBezTo>
                    <a:pt x="9515653" y="29179"/>
                    <a:pt x="9544832" y="0"/>
                    <a:pt x="9580786" y="0"/>
                  </a:cubicBezTo>
                  <a:cubicBezTo>
                    <a:pt x="9616739" y="0"/>
                    <a:pt x="9645919" y="29179"/>
                    <a:pt x="9645919" y="65133"/>
                  </a:cubicBezTo>
                  <a:cubicBezTo>
                    <a:pt x="9645919" y="2724640"/>
                    <a:pt x="7482466" y="4888616"/>
                    <a:pt x="4822960" y="4888616"/>
                  </a:cubicBezTo>
                  <a:close/>
                </a:path>
              </a:pathLst>
            </a:custGeom>
            <a:solidFill>
              <a:schemeClr val="accent1"/>
            </a:solidFill>
            <a:ln w="52104" cap="flat">
              <a:noFill/>
              <a:prstDash val="solid"/>
              <a:miter/>
            </a:ln>
          </p:spPr>
          <p:txBody>
            <a:bodyPr rtlCol="0" anchor="ctr"/>
            <a:lstStyle/>
            <a:p>
              <a:endParaRPr lang="en-IN"/>
            </a:p>
          </p:txBody>
        </p:sp>
        <p:sp>
          <p:nvSpPr>
            <p:cNvPr id="15" name="Freeform: Shape 14">
              <a:extLst>
                <a:ext uri="{FF2B5EF4-FFF2-40B4-BE49-F238E27FC236}">
                  <a16:creationId xmlns:a16="http://schemas.microsoft.com/office/drawing/2014/main" id="{0FC0BCA5-E6A4-98BF-87CF-B98A10118169}"/>
                </a:ext>
              </a:extLst>
            </p:cNvPr>
            <p:cNvSpPr/>
            <p:nvPr/>
          </p:nvSpPr>
          <p:spPr>
            <a:xfrm>
              <a:off x="10327711" y="6581144"/>
              <a:ext cx="8332839" cy="8332844"/>
            </a:xfrm>
            <a:custGeom>
              <a:avLst/>
              <a:gdLst>
                <a:gd name="connsiteX0" fmla="*/ 8332840 w 8332839"/>
                <a:gd name="connsiteY0" fmla="*/ 4166422 h 8332844"/>
                <a:gd name="connsiteX1" fmla="*/ 4166420 w 8332839"/>
                <a:gd name="connsiteY1" fmla="*/ 8332845 h 8332844"/>
                <a:gd name="connsiteX2" fmla="*/ 0 w 8332839"/>
                <a:gd name="connsiteY2" fmla="*/ 4166423 h 8332844"/>
                <a:gd name="connsiteX3" fmla="*/ 4166420 w 8332839"/>
                <a:gd name="connsiteY3" fmla="*/ 0 h 8332844"/>
                <a:gd name="connsiteX4" fmla="*/ 8332840 w 8332839"/>
                <a:gd name="connsiteY4" fmla="*/ 4166422 h 8332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839" h="8332844">
                  <a:moveTo>
                    <a:pt x="8332840" y="4166422"/>
                  </a:moveTo>
                  <a:cubicBezTo>
                    <a:pt x="8332840" y="6467474"/>
                    <a:pt x="6467470" y="8332845"/>
                    <a:pt x="4166420" y="8332845"/>
                  </a:cubicBezTo>
                  <a:cubicBezTo>
                    <a:pt x="1865370" y="8332845"/>
                    <a:pt x="0" y="6467474"/>
                    <a:pt x="0" y="4166423"/>
                  </a:cubicBezTo>
                  <a:cubicBezTo>
                    <a:pt x="0" y="1865371"/>
                    <a:pt x="1865370" y="0"/>
                    <a:pt x="4166420" y="0"/>
                  </a:cubicBezTo>
                  <a:cubicBezTo>
                    <a:pt x="6467470" y="0"/>
                    <a:pt x="8332840" y="1865371"/>
                    <a:pt x="8332840" y="4166422"/>
                  </a:cubicBezTo>
                  <a:close/>
                </a:path>
              </a:pathLst>
            </a:custGeom>
            <a:solidFill>
              <a:srgbClr val="FFFFFF"/>
            </a:solidFill>
            <a:ln w="52104" cap="flat">
              <a:noFill/>
              <a:prstDash val="solid"/>
              <a:miter/>
            </a:ln>
            <a:effectLst/>
          </p:spPr>
          <p:txBody>
            <a:bodyPr rtlCol="0" anchor="ctr"/>
            <a:lstStyle/>
            <a:p>
              <a:endParaRPr lang="en-IN"/>
            </a:p>
          </p:txBody>
        </p:sp>
        <p:sp>
          <p:nvSpPr>
            <p:cNvPr id="17" name="Freeform: Shape 16">
              <a:extLst>
                <a:ext uri="{FF2B5EF4-FFF2-40B4-BE49-F238E27FC236}">
                  <a16:creationId xmlns:a16="http://schemas.microsoft.com/office/drawing/2014/main" id="{72D4E2F2-1C67-E664-37FE-88B885C218D4}"/>
                </a:ext>
              </a:extLst>
            </p:cNvPr>
            <p:cNvSpPr/>
            <p:nvPr/>
          </p:nvSpPr>
          <p:spPr>
            <a:xfrm>
              <a:off x="9995273" y="6249227"/>
              <a:ext cx="8997716" cy="8997721"/>
            </a:xfrm>
            <a:custGeom>
              <a:avLst/>
              <a:gdLst>
                <a:gd name="connsiteX0" fmla="*/ 6218887 w 8997716"/>
                <a:gd name="connsiteY0" fmla="*/ 342339 h 8997721"/>
                <a:gd name="connsiteX1" fmla="*/ 5562348 w 8997716"/>
                <a:gd name="connsiteY1" fmla="*/ 127661 h 8997721"/>
                <a:gd name="connsiteX2" fmla="*/ 4498858 w 8997716"/>
                <a:gd name="connsiteY2" fmla="*/ 0 h 8997721"/>
                <a:gd name="connsiteX3" fmla="*/ 0 w 8997716"/>
                <a:gd name="connsiteY3" fmla="*/ 4498861 h 8997721"/>
                <a:gd name="connsiteX4" fmla="*/ 4498858 w 8997716"/>
                <a:gd name="connsiteY4" fmla="*/ 8997721 h 8997721"/>
                <a:gd name="connsiteX5" fmla="*/ 8997716 w 8997716"/>
                <a:gd name="connsiteY5" fmla="*/ 4498861 h 8997721"/>
                <a:gd name="connsiteX6" fmla="*/ 6218887 w 8997716"/>
                <a:gd name="connsiteY6" fmla="*/ 342339 h 8997721"/>
                <a:gd name="connsiteX7" fmla="*/ 4498858 w 8997716"/>
                <a:gd name="connsiteY7" fmla="*/ 8910182 h 8997721"/>
                <a:gd name="connsiteX8" fmla="*/ 87018 w 8997716"/>
                <a:gd name="connsiteY8" fmla="*/ 4498340 h 8997721"/>
                <a:gd name="connsiteX9" fmla="*/ 4498858 w 8997716"/>
                <a:gd name="connsiteY9" fmla="*/ 86497 h 8997721"/>
                <a:gd name="connsiteX10" fmla="*/ 8910699 w 8997716"/>
                <a:gd name="connsiteY10" fmla="*/ 4498340 h 8997721"/>
                <a:gd name="connsiteX11" fmla="*/ 4498858 w 8997716"/>
                <a:gd name="connsiteY11" fmla="*/ 8910182 h 899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97716" h="8997721">
                  <a:moveTo>
                    <a:pt x="6218887" y="342339"/>
                  </a:moveTo>
                  <a:cubicBezTo>
                    <a:pt x="6007857" y="254279"/>
                    <a:pt x="5787969" y="181851"/>
                    <a:pt x="5562348" y="127661"/>
                  </a:cubicBezTo>
                  <a:cubicBezTo>
                    <a:pt x="5221052" y="44290"/>
                    <a:pt x="4865166" y="0"/>
                    <a:pt x="4498858" y="0"/>
                  </a:cubicBezTo>
                  <a:cubicBezTo>
                    <a:pt x="2018077" y="0"/>
                    <a:pt x="0" y="2018078"/>
                    <a:pt x="0" y="4498861"/>
                  </a:cubicBezTo>
                  <a:cubicBezTo>
                    <a:pt x="0" y="6979643"/>
                    <a:pt x="2018077" y="8997721"/>
                    <a:pt x="4498858" y="8997721"/>
                  </a:cubicBezTo>
                  <a:cubicBezTo>
                    <a:pt x="6979639" y="8997721"/>
                    <a:pt x="8997716" y="6979643"/>
                    <a:pt x="8997716" y="4498861"/>
                  </a:cubicBezTo>
                  <a:cubicBezTo>
                    <a:pt x="8997716" y="2627201"/>
                    <a:pt x="7848773" y="1018679"/>
                    <a:pt x="6218887" y="342339"/>
                  </a:cubicBezTo>
                  <a:close/>
                  <a:moveTo>
                    <a:pt x="4498858" y="8910182"/>
                  </a:moveTo>
                  <a:cubicBezTo>
                    <a:pt x="2066015" y="8910182"/>
                    <a:pt x="87018" y="6931184"/>
                    <a:pt x="87018" y="4498340"/>
                  </a:cubicBezTo>
                  <a:cubicBezTo>
                    <a:pt x="87018" y="2065495"/>
                    <a:pt x="2066015" y="86497"/>
                    <a:pt x="4498858" y="86497"/>
                  </a:cubicBezTo>
                  <a:cubicBezTo>
                    <a:pt x="6931702" y="86497"/>
                    <a:pt x="8910699" y="2065495"/>
                    <a:pt x="8910699" y="4498340"/>
                  </a:cubicBezTo>
                  <a:cubicBezTo>
                    <a:pt x="8910699" y="6931184"/>
                    <a:pt x="6931702" y="8910182"/>
                    <a:pt x="4498858" y="8910182"/>
                  </a:cubicBezTo>
                  <a:close/>
                </a:path>
              </a:pathLst>
            </a:custGeom>
            <a:solidFill>
              <a:srgbClr val="0F2C30"/>
            </a:solidFill>
            <a:ln w="52104" cap="flat">
              <a:noFill/>
              <a:prstDash val="solid"/>
              <a:miter/>
            </a:ln>
          </p:spPr>
          <p:txBody>
            <a:bodyPr rtlCol="0" anchor="ctr"/>
            <a:lstStyle/>
            <a:p>
              <a:endParaRPr lang="en-IN"/>
            </a:p>
          </p:txBody>
        </p:sp>
        <p:sp>
          <p:nvSpPr>
            <p:cNvPr id="18" name="Freeform: Shape 17">
              <a:extLst>
                <a:ext uri="{FF2B5EF4-FFF2-40B4-BE49-F238E27FC236}">
                  <a16:creationId xmlns:a16="http://schemas.microsoft.com/office/drawing/2014/main" id="{7C50FC73-A9BA-9E49-E3C3-C997C7025D98}"/>
                </a:ext>
              </a:extLst>
            </p:cNvPr>
            <p:cNvSpPr/>
            <p:nvPr/>
          </p:nvSpPr>
          <p:spPr>
            <a:xfrm>
              <a:off x="10044253" y="6297686"/>
              <a:ext cx="8899756" cy="8899760"/>
            </a:xfrm>
            <a:custGeom>
              <a:avLst/>
              <a:gdLst>
                <a:gd name="connsiteX0" fmla="*/ 4449878 w 8899756"/>
                <a:gd name="connsiteY0" fmla="*/ 0 h 8899760"/>
                <a:gd name="connsiteX1" fmla="*/ 0 w 8899756"/>
                <a:gd name="connsiteY1" fmla="*/ 4449881 h 8899760"/>
                <a:gd name="connsiteX2" fmla="*/ 4449878 w 8899756"/>
                <a:gd name="connsiteY2" fmla="*/ 8899761 h 8899760"/>
                <a:gd name="connsiteX3" fmla="*/ 8899757 w 8899756"/>
                <a:gd name="connsiteY3" fmla="*/ 4449881 h 8899760"/>
                <a:gd name="connsiteX4" fmla="*/ 4449878 w 8899756"/>
                <a:gd name="connsiteY4" fmla="*/ 0 h 8899760"/>
                <a:gd name="connsiteX5" fmla="*/ 4449878 w 8899756"/>
                <a:gd name="connsiteY5" fmla="*/ 8813265 h 8899760"/>
                <a:gd name="connsiteX6" fmla="*/ 87018 w 8899756"/>
                <a:gd name="connsiteY6" fmla="*/ 4450402 h 8899760"/>
                <a:gd name="connsiteX7" fmla="*/ 4449878 w 8899756"/>
                <a:gd name="connsiteY7" fmla="*/ 87018 h 8899760"/>
                <a:gd name="connsiteX8" fmla="*/ 8812739 w 8899756"/>
                <a:gd name="connsiteY8" fmla="*/ 4449881 h 8899760"/>
                <a:gd name="connsiteX9" fmla="*/ 4449878 w 8899756"/>
                <a:gd name="connsiteY9" fmla="*/ 8813265 h 889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99756" h="8899760">
                  <a:moveTo>
                    <a:pt x="4449878" y="0"/>
                  </a:moveTo>
                  <a:cubicBezTo>
                    <a:pt x="1995671" y="0"/>
                    <a:pt x="0" y="1996194"/>
                    <a:pt x="0" y="4449881"/>
                  </a:cubicBezTo>
                  <a:cubicBezTo>
                    <a:pt x="0" y="6904089"/>
                    <a:pt x="1996193" y="8899761"/>
                    <a:pt x="4449878" y="8899761"/>
                  </a:cubicBezTo>
                  <a:cubicBezTo>
                    <a:pt x="6903564" y="8899761"/>
                    <a:pt x="8899757" y="6903568"/>
                    <a:pt x="8899757" y="4449881"/>
                  </a:cubicBezTo>
                  <a:cubicBezTo>
                    <a:pt x="8900278" y="1996194"/>
                    <a:pt x="6903564" y="0"/>
                    <a:pt x="4449878" y="0"/>
                  </a:cubicBezTo>
                  <a:close/>
                  <a:moveTo>
                    <a:pt x="4449878" y="8813265"/>
                  </a:moveTo>
                  <a:cubicBezTo>
                    <a:pt x="2044130" y="8813265"/>
                    <a:pt x="87018" y="6856151"/>
                    <a:pt x="87018" y="4450402"/>
                  </a:cubicBezTo>
                  <a:cubicBezTo>
                    <a:pt x="87018" y="2044653"/>
                    <a:pt x="2044130" y="87018"/>
                    <a:pt x="4449878" y="87018"/>
                  </a:cubicBezTo>
                  <a:cubicBezTo>
                    <a:pt x="6855626" y="87018"/>
                    <a:pt x="8812739" y="2044131"/>
                    <a:pt x="8812739" y="4449881"/>
                  </a:cubicBezTo>
                  <a:cubicBezTo>
                    <a:pt x="8812739" y="6855630"/>
                    <a:pt x="6855626" y="8813265"/>
                    <a:pt x="4449878" y="8813265"/>
                  </a:cubicBezTo>
                  <a:close/>
                </a:path>
              </a:pathLst>
            </a:custGeom>
            <a:solidFill>
              <a:schemeClr val="bg2"/>
            </a:solidFill>
            <a:ln w="52104" cap="flat">
              <a:noFill/>
              <a:prstDash val="solid"/>
              <a:miter/>
            </a:ln>
          </p:spPr>
          <p:txBody>
            <a:bodyPr rtlCol="0" anchor="ctr"/>
            <a:lstStyle/>
            <a:p>
              <a:endParaRPr lang="en-IN"/>
            </a:p>
          </p:txBody>
        </p:sp>
        <p:sp>
          <p:nvSpPr>
            <p:cNvPr id="19" name="Freeform: Shape 18">
              <a:extLst>
                <a:ext uri="{FF2B5EF4-FFF2-40B4-BE49-F238E27FC236}">
                  <a16:creationId xmlns:a16="http://schemas.microsoft.com/office/drawing/2014/main" id="{AC7F6FC9-C1CF-A48C-D285-43A15F2D59C7}"/>
                </a:ext>
              </a:extLst>
            </p:cNvPr>
            <p:cNvSpPr/>
            <p:nvPr/>
          </p:nvSpPr>
          <p:spPr>
            <a:xfrm>
              <a:off x="10905049" y="7158482"/>
              <a:ext cx="7178164" cy="7178168"/>
            </a:xfrm>
            <a:custGeom>
              <a:avLst/>
              <a:gdLst>
                <a:gd name="connsiteX0" fmla="*/ 7178165 w 7178164"/>
                <a:gd name="connsiteY0" fmla="*/ 3589084 h 7178168"/>
                <a:gd name="connsiteX1" fmla="*/ 3589083 w 7178164"/>
                <a:gd name="connsiteY1" fmla="*/ 7178169 h 7178168"/>
                <a:gd name="connsiteX2" fmla="*/ 0 w 7178164"/>
                <a:gd name="connsiteY2" fmla="*/ 3589085 h 7178168"/>
                <a:gd name="connsiteX3" fmla="*/ 3589083 w 7178164"/>
                <a:gd name="connsiteY3" fmla="*/ 1 h 7178168"/>
                <a:gd name="connsiteX4" fmla="*/ 7178165 w 7178164"/>
                <a:gd name="connsiteY4" fmla="*/ 3589084 h 717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8164" h="7178168">
                  <a:moveTo>
                    <a:pt x="7178165" y="3589084"/>
                  </a:moveTo>
                  <a:cubicBezTo>
                    <a:pt x="7178165" y="5571280"/>
                    <a:pt x="5571278" y="7178169"/>
                    <a:pt x="3589083" y="7178169"/>
                  </a:cubicBezTo>
                  <a:cubicBezTo>
                    <a:pt x="1606887" y="7178169"/>
                    <a:pt x="0" y="5571281"/>
                    <a:pt x="0" y="3589085"/>
                  </a:cubicBezTo>
                  <a:cubicBezTo>
                    <a:pt x="0" y="1606888"/>
                    <a:pt x="1606887" y="1"/>
                    <a:pt x="3589083" y="1"/>
                  </a:cubicBezTo>
                  <a:cubicBezTo>
                    <a:pt x="5571278" y="1"/>
                    <a:pt x="7178165" y="1606888"/>
                    <a:pt x="7178165" y="3589084"/>
                  </a:cubicBezTo>
                  <a:close/>
                </a:path>
              </a:pathLst>
            </a:custGeom>
            <a:ln w="52104" cap="flat">
              <a:noFill/>
              <a:prstDash val="solid"/>
              <a:miter/>
            </a:ln>
          </p:spPr>
          <p:txBody>
            <a:bodyPr rtlCol="0" anchor="ctr"/>
            <a:lstStyle/>
            <a:p>
              <a:endParaRPr lang="en-IN"/>
            </a:p>
          </p:txBody>
        </p:sp>
        <p:pic>
          <p:nvPicPr>
            <p:cNvPr id="20" name="image4.jpg">
              <a:extLst>
                <a:ext uri="{FF2B5EF4-FFF2-40B4-BE49-F238E27FC236}">
                  <a16:creationId xmlns:a16="http://schemas.microsoft.com/office/drawing/2014/main" id="{FCD2DB95-EAF9-202C-0943-C9A2401DBCF6}"/>
                </a:ext>
              </a:extLst>
            </p:cNvPr>
            <p:cNvPicPr preferRelativeResize="0"/>
            <p:nvPr/>
          </p:nvPicPr>
          <p:blipFill>
            <a:blip r:embed="rId18" cstate="hqprint">
              <a:extLst>
                <a:ext uri="{28A0092B-C50C-407E-A947-70E740481C1C}">
                  <a14:useLocalDpi xmlns:a14="http://schemas.microsoft.com/office/drawing/2010/main"/>
                </a:ext>
              </a:extLst>
            </a:blip>
            <a:srcRect/>
            <a:stretch>
              <a:fillRect/>
            </a:stretch>
          </p:blipFill>
          <p:spPr>
            <a:xfrm>
              <a:off x="10300883" y="6479399"/>
              <a:ext cx="8499008" cy="8499010"/>
            </a:xfrm>
            <a:prstGeom prst="ellipse">
              <a:avLst/>
            </a:prstGeom>
            <a:ln/>
            <a:effectLst/>
          </p:spPr>
        </p:pic>
      </p:grpSp>
    </p:spTree>
    <p:extLst>
      <p:ext uri="{BB962C8B-B14F-4D97-AF65-F5344CB8AC3E}">
        <p14:creationId xmlns:p14="http://schemas.microsoft.com/office/powerpoint/2010/main" val="1365513723"/>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 Matrix</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endParaRPr lang="en-US" sz="1400" b="1" dirty="0">
              <a:solidFill>
                <a:schemeClr val="bg1"/>
              </a:solidFill>
              <a:cs typeface="Times New Roman" pitchFamily="18" charset="0"/>
            </a:endParaRP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chemeClr val="accent4">
              <a:lumMod val="60000"/>
              <a:lumOff val="4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endParaRPr lang="en-US" sz="1400" b="1" dirty="0">
              <a:solidFill>
                <a:schemeClr val="bg1"/>
              </a:solidFill>
              <a:cs typeface="Times New Roman" pitchFamily="18" charset="0"/>
            </a:endParaRP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chemeClr val="accent6">
              <a:lumMod val="60000"/>
              <a:lumOff val="4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bg1"/>
              </a:buClr>
              <a:buFont typeface="+mj-lt"/>
              <a:buAutoNum type="arabicPeriod"/>
            </a:pPr>
            <a:r>
              <a:rPr lang="en-US" sz="1400" b="1" dirty="0">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dirty="0">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dirty="0">
                <a:solidFill>
                  <a:schemeClr val="bg1"/>
                </a:solidFill>
                <a:cs typeface="Times New Roman" pitchFamily="18" charset="0"/>
              </a:rPr>
              <a:t>Project X</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endParaRPr lang="en-US" sz="1400" b="1" dirty="0">
              <a:solidFill>
                <a:schemeClr val="bg1"/>
              </a:solidFill>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chemeClr val="accent6">
              <a:lumMod val="60000"/>
              <a:lumOff val="4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endParaRPr lang="en-US" sz="1400" b="1" dirty="0">
              <a:solidFill>
                <a:schemeClr val="bg1"/>
              </a:solidFill>
              <a:cs typeface="Times New Roman" pitchFamily="18" charset="0"/>
            </a:endParaRP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chemeClr val="accent6">
              <a:lumMod val="60000"/>
              <a:lumOff val="4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endParaRPr lang="en-US" sz="1400" b="1" dirty="0">
              <a:solidFill>
                <a:schemeClr val="bg1"/>
              </a:solidFill>
              <a:cs typeface="Times New Roman" pitchFamily="18" charset="0"/>
            </a:endParaRP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chemeClr val="accent3"/>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endParaRPr lang="en-US" sz="1400" b="1" dirty="0">
              <a:solidFill>
                <a:schemeClr val="bg1"/>
              </a:solidFill>
              <a:cs typeface="Times New Roman" pitchFamily="18" charset="0"/>
            </a:endParaRP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chemeClr val="accent4">
              <a:lumMod val="60000"/>
              <a:lumOff val="4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bg1"/>
              </a:buClr>
              <a:buFont typeface="+mj-lt"/>
              <a:buAutoNum type="arabicPeriod"/>
            </a:pPr>
            <a:r>
              <a:rPr lang="en-US" sz="1400" b="1" dirty="0">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dirty="0">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dirty="0">
                <a:solidFill>
                  <a:schemeClr val="bg1"/>
                </a:solidFill>
                <a:cs typeface="Times New Roman" pitchFamily="18" charset="0"/>
              </a:rPr>
              <a:t>Project X</a:t>
            </a: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p>
          <a:p>
            <a:pPr marL="114300" indent="-114300" defTabSz="623853" fontAlgn="base">
              <a:spcBef>
                <a:spcPts val="200"/>
              </a:spcBef>
              <a:spcAft>
                <a:spcPts val="200"/>
              </a:spcAft>
              <a:buClr>
                <a:schemeClr val="bg1"/>
              </a:buClr>
              <a:buFont typeface="+mj-lt"/>
              <a:buAutoNum type="arabicPeriod"/>
            </a:pPr>
            <a:r>
              <a:rPr lang="en-US" sz="1400" b="1">
                <a:solidFill>
                  <a:schemeClr val="bg1"/>
                </a:solidFill>
                <a:cs typeface="Times New Roman" pitchFamily="18" charset="0"/>
              </a:rPr>
              <a:t>Project X</a:t>
            </a:r>
            <a:endParaRPr lang="en-US" sz="1400" b="1" dirty="0">
              <a:solidFill>
                <a:schemeClr val="bg1"/>
              </a:solidFill>
              <a:cs typeface="Times New Roman" pitchFamily="18" charset="0"/>
            </a:endParaRP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2" name="Rectangle: Rounded Corners 1">
            <a:extLst>
              <a:ext uri="{FF2B5EF4-FFF2-40B4-BE49-F238E27FC236}">
                <a16:creationId xmlns:a16="http://schemas.microsoft.com/office/drawing/2014/main" id="{8051FEB1-D4F0-1475-4FB9-4AC9989FB0C7}"/>
              </a:ext>
            </a:extLst>
          </p:cNvPr>
          <p:cNvSpPr/>
          <p:nvPr/>
        </p:nvSpPr>
        <p:spPr>
          <a:xfrm>
            <a:off x="10228521" y="365125"/>
            <a:ext cx="1608683" cy="411252"/>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
        <p:nvSpPr>
          <p:cNvPr id="15" name="Rectangle 14">
            <a:extLst>
              <a:ext uri="{FF2B5EF4-FFF2-40B4-BE49-F238E27FC236}">
                <a16:creationId xmlns:a16="http://schemas.microsoft.com/office/drawing/2014/main" id="{B40BD74F-CE9F-06B0-BA46-344A18E9D8EA}"/>
              </a:ext>
            </a:extLst>
          </p:cNvPr>
          <p:cNvSpPr/>
          <p:nvPr/>
        </p:nvSpPr>
        <p:spPr bwMode="auto">
          <a:xfrm>
            <a:off x="7943383" y="1009320"/>
            <a:ext cx="909462" cy="414020"/>
          </a:xfrm>
          <a:prstGeom prst="rect">
            <a:avLst/>
          </a:prstGeom>
          <a:solidFill>
            <a:schemeClr val="accent3"/>
          </a:solidFill>
          <a:ln>
            <a:no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chemeClr val="bg1"/>
                </a:solidFill>
                <a:effectLst/>
                <a:uLnTx/>
                <a:uFillTx/>
                <a:cs typeface="Times New Roman" pitchFamily="18" charset="0"/>
              </a:rPr>
              <a:t>Priority 1 Projects</a:t>
            </a:r>
          </a:p>
        </p:txBody>
      </p:sp>
      <p:sp>
        <p:nvSpPr>
          <p:cNvPr id="17" name="TextBox 16">
            <a:extLst>
              <a:ext uri="{FF2B5EF4-FFF2-40B4-BE49-F238E27FC236}">
                <a16:creationId xmlns:a16="http://schemas.microsoft.com/office/drawing/2014/main" id="{F65B50D1-8DAE-5671-D854-87B0FF2F9F46}"/>
              </a:ext>
            </a:extLst>
          </p:cNvPr>
          <p:cNvSpPr txBox="1"/>
          <p:nvPr/>
        </p:nvSpPr>
        <p:spPr>
          <a:xfrm>
            <a:off x="7023445" y="1051310"/>
            <a:ext cx="936000" cy="307777"/>
          </a:xfrm>
          <a:prstGeom prst="rect">
            <a:avLst/>
          </a:prstGeom>
          <a:noFill/>
        </p:spPr>
        <p:txBody>
          <a:bodyPr wrap="square" rtlCol="0">
            <a:spAutoFit/>
          </a:bodyPr>
          <a:lstStyle/>
          <a:p>
            <a:r>
              <a:rPr lang="en-US" sz="1400" b="1" dirty="0">
                <a:solidFill>
                  <a:schemeClr val="bg2"/>
                </a:solidFill>
              </a:rPr>
              <a:t>Caption:</a:t>
            </a:r>
          </a:p>
        </p:txBody>
      </p:sp>
      <p:sp>
        <p:nvSpPr>
          <p:cNvPr id="18" name="Rectangle 17">
            <a:extLst>
              <a:ext uri="{FF2B5EF4-FFF2-40B4-BE49-F238E27FC236}">
                <a16:creationId xmlns:a16="http://schemas.microsoft.com/office/drawing/2014/main" id="{15884FE4-C297-D341-D681-CC950E5D8A51}"/>
              </a:ext>
            </a:extLst>
          </p:cNvPr>
          <p:cNvSpPr/>
          <p:nvPr/>
        </p:nvSpPr>
        <p:spPr bwMode="auto">
          <a:xfrm>
            <a:off x="8950552" y="1009320"/>
            <a:ext cx="909462" cy="414020"/>
          </a:xfrm>
          <a:prstGeom prst="rect">
            <a:avLst/>
          </a:prstGeom>
          <a:solidFill>
            <a:schemeClr val="accent4">
              <a:lumMod val="60000"/>
              <a:lumOff val="40000"/>
            </a:schemeClr>
          </a:solidFill>
          <a:ln>
            <a:noFill/>
          </a:ln>
        </p:spPr>
        <p:txBody>
          <a:bodyPr wrap="square" lIns="91428" tIns="45715" rIns="91428" bIns="45715" rtlCol="0" anchor="ctr">
            <a:noAutofit/>
          </a:bodyPr>
          <a:lstStyle/>
          <a:p>
            <a:pPr algn="ctr" defTabSz="623853" fontAlgn="base">
              <a:spcBef>
                <a:spcPts val="600"/>
              </a:spcBef>
              <a:spcAft>
                <a:spcPts val="600"/>
              </a:spcAft>
              <a:buClr>
                <a:srgbClr val="000000"/>
              </a:buClr>
              <a:defRPr/>
            </a:pPr>
            <a:r>
              <a:rPr lang="en-US" sz="1000" b="1" kern="0" dirty="0">
                <a:solidFill>
                  <a:schemeClr val="bg1"/>
                </a:solidFill>
                <a:cs typeface="Times New Roman" pitchFamily="18" charset="0"/>
              </a:rPr>
              <a:t>Priority 2 Projects</a:t>
            </a:r>
          </a:p>
        </p:txBody>
      </p:sp>
      <p:sp>
        <p:nvSpPr>
          <p:cNvPr id="19" name="Rectangle 18">
            <a:extLst>
              <a:ext uri="{FF2B5EF4-FFF2-40B4-BE49-F238E27FC236}">
                <a16:creationId xmlns:a16="http://schemas.microsoft.com/office/drawing/2014/main" id="{C0D4FCF5-EC36-4EEE-4BC3-8AD39CFF90A7}"/>
              </a:ext>
            </a:extLst>
          </p:cNvPr>
          <p:cNvSpPr/>
          <p:nvPr/>
        </p:nvSpPr>
        <p:spPr bwMode="auto">
          <a:xfrm>
            <a:off x="9957721" y="1009320"/>
            <a:ext cx="909462" cy="414020"/>
          </a:xfrm>
          <a:prstGeom prst="rect">
            <a:avLst/>
          </a:prstGeom>
          <a:solidFill>
            <a:schemeClr val="accent5"/>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chemeClr val="bg1"/>
                </a:solidFill>
                <a:effectLst/>
                <a:uLnTx/>
                <a:uFillTx/>
                <a:latin typeface="Arial" panose="020B0604020202020204"/>
                <a:ea typeface="+mn-ea"/>
                <a:cs typeface="Times New Roman" pitchFamily="18" charset="0"/>
              </a:rPr>
              <a:t>Priority 3 Projects</a:t>
            </a:r>
          </a:p>
        </p:txBody>
      </p:sp>
      <p:sp>
        <p:nvSpPr>
          <p:cNvPr id="20" name="Rectangle 19">
            <a:extLst>
              <a:ext uri="{FF2B5EF4-FFF2-40B4-BE49-F238E27FC236}">
                <a16:creationId xmlns:a16="http://schemas.microsoft.com/office/drawing/2014/main" id="{06700B5C-5E66-A35C-1B1C-D48F0C01473D}"/>
              </a:ext>
            </a:extLst>
          </p:cNvPr>
          <p:cNvSpPr/>
          <p:nvPr/>
        </p:nvSpPr>
        <p:spPr bwMode="auto">
          <a:xfrm>
            <a:off x="10964889" y="1009320"/>
            <a:ext cx="909462" cy="414020"/>
          </a:xfrm>
          <a:prstGeom prst="rect">
            <a:avLst/>
          </a:prstGeom>
          <a:solidFill>
            <a:schemeClr val="accent6">
              <a:lumMod val="60000"/>
              <a:lumOff val="40000"/>
            </a:schemeClr>
          </a:solidFill>
          <a:ln>
            <a:noFill/>
          </a:ln>
        </p:spPr>
        <p:txBody>
          <a:bodyPr rot="0" spcFirstLastPara="0" vertOverflow="overflow" horzOverflow="overflow" vert="horz" wrap="square" lIns="36000" tIns="45715" rIns="36000"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chemeClr val="bg1"/>
                </a:solidFill>
                <a:effectLst/>
                <a:uLnTx/>
                <a:uFillTx/>
                <a:latin typeface="Arial" panose="020B0604020202020204"/>
                <a:ea typeface="+mn-ea"/>
                <a:cs typeface="Times New Roman" pitchFamily="18" charset="0"/>
              </a:rPr>
              <a:t>Unattractive Projects</a:t>
            </a:r>
          </a:p>
        </p:txBody>
      </p:sp>
    </p:spTree>
    <p:extLst>
      <p:ext uri="{BB962C8B-B14F-4D97-AF65-F5344CB8AC3E}">
        <p14:creationId xmlns:p14="http://schemas.microsoft.com/office/powerpoint/2010/main" val="33400237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C99EFF-354A-44CF-90A6-A74D5DB7C3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AAC99EFF-354A-44CF-90A6-A74D5DB7C3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4ADBF-C6BF-47E5-A610-498F4D8C2A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sz="2200" kern="0" dirty="0"/>
              <a:t>Need more help? Our ex-McKinsey, Deloitte &amp; BCG Consultants have created 19 Management Consulting Toolkits available at </a:t>
            </a:r>
            <a:r>
              <a:rPr lang="en-GB" sz="2200" kern="0" dirty="0">
                <a:hlinkClick r:id="rId8"/>
              </a:rPr>
              <a:t>www.domontconsulting.com</a:t>
            </a:r>
            <a:endParaRPr lang="en-US" sz="2200" b="0" kern="0" dirty="0"/>
          </a:p>
        </p:txBody>
      </p:sp>
      <p:sp>
        <p:nvSpPr>
          <p:cNvPr id="47" name="Slide Number Placeholder 3">
            <a:extLst>
              <a:ext uri="{FF2B5EF4-FFF2-40B4-BE49-F238E27FC236}">
                <a16:creationId xmlns:a16="http://schemas.microsoft.com/office/drawing/2014/main" id="{D47DA033-2956-40C4-8B88-587134132EC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7" name="Rectangle 6">
            <a:extLst>
              <a:ext uri="{FF2B5EF4-FFF2-40B4-BE49-F238E27FC236}">
                <a16:creationId xmlns:a16="http://schemas.microsoft.com/office/drawing/2014/main" id="{558C421E-7E39-A570-32F6-06E68C1EEE4C}"/>
              </a:ext>
            </a:extLst>
          </p:cNvPr>
          <p:cNvSpPr>
            <a:spLocks noChangeArrowheads="1"/>
          </p:cNvSpPr>
          <p:nvPr/>
        </p:nvSpPr>
        <p:spPr bwMode="auto">
          <a:xfrm>
            <a:off x="620478"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 Corporate &amp; Business Strategy Toolkit</a:t>
            </a:r>
          </a:p>
        </p:txBody>
      </p:sp>
      <p:pic>
        <p:nvPicPr>
          <p:cNvPr id="19" name="Graphic 18" descr="Lightbulb and gear">
            <a:extLst>
              <a:ext uri="{FF2B5EF4-FFF2-40B4-BE49-F238E27FC236}">
                <a16:creationId xmlns:a16="http://schemas.microsoft.com/office/drawing/2014/main" id="{E0ED72F6-3654-63CA-213F-0B584F34285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32874" y="2015649"/>
            <a:ext cx="640779" cy="640778"/>
          </a:xfrm>
          <a:prstGeom prst="rect">
            <a:avLst/>
          </a:prstGeom>
        </p:spPr>
      </p:pic>
      <p:sp>
        <p:nvSpPr>
          <p:cNvPr id="13" name="Rectangle 12">
            <a:extLst>
              <a:ext uri="{FF2B5EF4-FFF2-40B4-BE49-F238E27FC236}">
                <a16:creationId xmlns:a16="http://schemas.microsoft.com/office/drawing/2014/main" id="{0E23EC02-6B77-6CEF-E611-0B3B5F316F80}"/>
              </a:ext>
            </a:extLst>
          </p:cNvPr>
          <p:cNvSpPr>
            <a:spLocks noChangeArrowheads="1"/>
          </p:cNvSpPr>
          <p:nvPr/>
        </p:nvSpPr>
        <p:spPr bwMode="auto">
          <a:xfrm>
            <a:off x="620478" y="280728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6. Strategic Planning Toolkit</a:t>
            </a:r>
          </a:p>
        </p:txBody>
      </p:sp>
      <p:sp>
        <p:nvSpPr>
          <p:cNvPr id="14" name="Rectangle 13">
            <a:extLst>
              <a:ext uri="{FF2B5EF4-FFF2-40B4-BE49-F238E27FC236}">
                <a16:creationId xmlns:a16="http://schemas.microsoft.com/office/drawing/2014/main" id="{226D134D-00A2-6215-0DE7-20ED9C1FAE02}"/>
              </a:ext>
            </a:extLst>
          </p:cNvPr>
          <p:cNvSpPr>
            <a:spLocks noChangeArrowheads="1"/>
          </p:cNvSpPr>
          <p:nvPr/>
        </p:nvSpPr>
        <p:spPr bwMode="auto">
          <a:xfrm>
            <a:off x="620478"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1. Business Plan &amp; Entrepreneurship Toolkit</a:t>
            </a:r>
          </a:p>
        </p:txBody>
      </p:sp>
      <p:sp>
        <p:nvSpPr>
          <p:cNvPr id="15" name="Rectangle 14">
            <a:extLst>
              <a:ext uri="{FF2B5EF4-FFF2-40B4-BE49-F238E27FC236}">
                <a16:creationId xmlns:a16="http://schemas.microsoft.com/office/drawing/2014/main" id="{5F375674-5BD0-C95E-E34C-189DC46EB9EF}"/>
              </a:ext>
            </a:extLst>
          </p:cNvPr>
          <p:cNvSpPr>
            <a:spLocks noChangeArrowheads="1"/>
          </p:cNvSpPr>
          <p:nvPr/>
        </p:nvSpPr>
        <p:spPr bwMode="auto">
          <a:xfrm>
            <a:off x="620478"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GB" sz="1050" b="1" dirty="0">
                <a:solidFill>
                  <a:schemeClr val="tx2"/>
                </a:solidFill>
              </a:rPr>
              <a:t>16. </a:t>
            </a:r>
            <a:r>
              <a:rPr lang="en-US" sz="1050" b="1" dirty="0">
                <a:solidFill>
                  <a:schemeClr val="tx2"/>
                </a:solidFill>
              </a:rPr>
              <a:t>Financial Modeling, Planning &amp; Analysis Toolkit</a:t>
            </a:r>
          </a:p>
        </p:txBody>
      </p:sp>
      <p:sp>
        <p:nvSpPr>
          <p:cNvPr id="71" name="Rectangle 70">
            <a:extLst>
              <a:ext uri="{FF2B5EF4-FFF2-40B4-BE49-F238E27FC236}">
                <a16:creationId xmlns:a16="http://schemas.microsoft.com/office/drawing/2014/main" id="{0B25308B-BA59-713F-CA3D-FA80A61921D5}"/>
              </a:ext>
            </a:extLst>
          </p:cNvPr>
          <p:cNvSpPr>
            <a:spLocks noChangeArrowheads="1"/>
          </p:cNvSpPr>
          <p:nvPr/>
        </p:nvSpPr>
        <p:spPr bwMode="auto">
          <a:xfrm>
            <a:off x="2810349"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2. Management Consulting Toolkit</a:t>
            </a:r>
            <a:endParaRPr lang="en-GB" altLang="ja-JP" sz="1050" b="1" dirty="0">
              <a:solidFill>
                <a:schemeClr val="tx2"/>
              </a:solidFill>
            </a:endParaRPr>
          </a:p>
        </p:txBody>
      </p:sp>
      <p:sp>
        <p:nvSpPr>
          <p:cNvPr id="84" name="Rectangle 83">
            <a:extLst>
              <a:ext uri="{FF2B5EF4-FFF2-40B4-BE49-F238E27FC236}">
                <a16:creationId xmlns:a16="http://schemas.microsoft.com/office/drawing/2014/main" id="{931A116A-B170-8576-3191-4E44AFFC3690}"/>
              </a:ext>
            </a:extLst>
          </p:cNvPr>
          <p:cNvSpPr>
            <a:spLocks noChangeArrowheads="1"/>
          </p:cNvSpPr>
          <p:nvPr/>
        </p:nvSpPr>
        <p:spPr bwMode="auto">
          <a:xfrm>
            <a:off x="5011650"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3. </a:t>
            </a:r>
            <a:r>
              <a:rPr lang="en-GB" sz="1050" b="1" dirty="0">
                <a:solidFill>
                  <a:schemeClr val="tx2"/>
                </a:solidFill>
              </a:rPr>
              <a:t>Operating Model &amp; </a:t>
            </a:r>
            <a:r>
              <a:rPr lang="en-US" sz="1050" b="1" dirty="0">
                <a:solidFill>
                  <a:schemeClr val="tx2"/>
                </a:solidFill>
              </a:rPr>
              <a:t>Organization Design Toolkit</a:t>
            </a:r>
          </a:p>
        </p:txBody>
      </p:sp>
      <p:sp>
        <p:nvSpPr>
          <p:cNvPr id="89" name="Rectangle 88">
            <a:extLst>
              <a:ext uri="{FF2B5EF4-FFF2-40B4-BE49-F238E27FC236}">
                <a16:creationId xmlns:a16="http://schemas.microsoft.com/office/drawing/2014/main" id="{C95656C4-FDF4-F11B-2233-D90FF6F01C33}"/>
              </a:ext>
            </a:extLst>
          </p:cNvPr>
          <p:cNvSpPr>
            <a:spLocks noChangeArrowheads="1"/>
          </p:cNvSpPr>
          <p:nvPr/>
        </p:nvSpPr>
        <p:spPr bwMode="auto">
          <a:xfrm>
            <a:off x="7212951"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4. Digital Transformation Toolkit</a:t>
            </a:r>
          </a:p>
        </p:txBody>
      </p:sp>
      <p:sp>
        <p:nvSpPr>
          <p:cNvPr id="94" name="Rectangle 93">
            <a:extLst>
              <a:ext uri="{FF2B5EF4-FFF2-40B4-BE49-F238E27FC236}">
                <a16:creationId xmlns:a16="http://schemas.microsoft.com/office/drawing/2014/main" id="{289EAC2A-EC1E-0B00-D53D-0E1A9715FF82}"/>
              </a:ext>
            </a:extLst>
          </p:cNvPr>
          <p:cNvSpPr>
            <a:spLocks noChangeArrowheads="1"/>
          </p:cNvSpPr>
          <p:nvPr/>
        </p:nvSpPr>
        <p:spPr bwMode="auto">
          <a:xfrm>
            <a:off x="9414251"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5. Change &amp; Project Management Toolkit</a:t>
            </a:r>
          </a:p>
        </p:txBody>
      </p:sp>
      <p:sp>
        <p:nvSpPr>
          <p:cNvPr id="117" name="Rectangle 116">
            <a:extLst>
              <a:ext uri="{FF2B5EF4-FFF2-40B4-BE49-F238E27FC236}">
                <a16:creationId xmlns:a16="http://schemas.microsoft.com/office/drawing/2014/main" id="{9BE8DF50-1016-DA34-1E4C-0DD9311F792A}"/>
              </a:ext>
            </a:extLst>
          </p:cNvPr>
          <p:cNvSpPr>
            <a:spLocks noChangeArrowheads="1"/>
          </p:cNvSpPr>
          <p:nvPr/>
        </p:nvSpPr>
        <p:spPr bwMode="auto">
          <a:xfrm>
            <a:off x="2810349"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rgbClr val="002060"/>
                </a:solidFill>
              </a:rPr>
              <a:t>7. </a:t>
            </a:r>
            <a:r>
              <a:rPr lang="en-GB" sz="1050" b="1" dirty="0">
                <a:solidFill>
                  <a:schemeClr val="tx2"/>
                </a:solidFill>
              </a:rPr>
              <a:t>Human Resources &amp; Talent Management Toolkit</a:t>
            </a:r>
            <a:endParaRPr lang="en-US" sz="1050" b="1" dirty="0">
              <a:solidFill>
                <a:schemeClr val="tx2"/>
              </a:solidFill>
            </a:endParaRPr>
          </a:p>
        </p:txBody>
      </p:sp>
      <p:sp>
        <p:nvSpPr>
          <p:cNvPr id="118" name="Rectangle 117">
            <a:extLst>
              <a:ext uri="{FF2B5EF4-FFF2-40B4-BE49-F238E27FC236}">
                <a16:creationId xmlns:a16="http://schemas.microsoft.com/office/drawing/2014/main" id="{E62805BF-A250-5D41-EA3C-FA0A06FD0099}"/>
              </a:ext>
            </a:extLst>
          </p:cNvPr>
          <p:cNvSpPr>
            <a:spLocks noChangeArrowheads="1"/>
          </p:cNvSpPr>
          <p:nvPr/>
        </p:nvSpPr>
        <p:spPr bwMode="auto">
          <a:xfrm>
            <a:off x="5011650"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8. Mergers &amp; Acquisitions Toolkit</a:t>
            </a:r>
            <a:endParaRPr lang="en-US" sz="1050" b="1" dirty="0">
              <a:solidFill>
                <a:srgbClr val="002060"/>
              </a:solidFill>
            </a:endParaRPr>
          </a:p>
        </p:txBody>
      </p:sp>
      <p:sp>
        <p:nvSpPr>
          <p:cNvPr id="119" name="Rectangle 118">
            <a:extLst>
              <a:ext uri="{FF2B5EF4-FFF2-40B4-BE49-F238E27FC236}">
                <a16:creationId xmlns:a16="http://schemas.microsoft.com/office/drawing/2014/main" id="{7FB344A7-AF23-1466-E4A7-7D4A798C3535}"/>
              </a:ext>
            </a:extLst>
          </p:cNvPr>
          <p:cNvSpPr>
            <a:spLocks noChangeArrowheads="1"/>
          </p:cNvSpPr>
          <p:nvPr/>
        </p:nvSpPr>
        <p:spPr bwMode="auto">
          <a:xfrm>
            <a:off x="7212951"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9. Post Merger Integration Toolkit</a:t>
            </a:r>
          </a:p>
        </p:txBody>
      </p:sp>
      <p:sp>
        <p:nvSpPr>
          <p:cNvPr id="120" name="Rectangle 119">
            <a:extLst>
              <a:ext uri="{FF2B5EF4-FFF2-40B4-BE49-F238E27FC236}">
                <a16:creationId xmlns:a16="http://schemas.microsoft.com/office/drawing/2014/main" id="{22E395D8-1FE6-5ECF-3FF8-4A223673D9C7}"/>
              </a:ext>
            </a:extLst>
          </p:cNvPr>
          <p:cNvSpPr>
            <a:spLocks noChangeArrowheads="1"/>
          </p:cNvSpPr>
          <p:nvPr/>
        </p:nvSpPr>
        <p:spPr bwMode="auto">
          <a:xfrm>
            <a:off x="9414251"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0" tIns="91440" rIns="0" bIns="91440" anchor="t">
            <a:normAutofit/>
          </a:bodyPr>
          <a:lstStyle/>
          <a:p>
            <a:pPr algn="ctr"/>
            <a:r>
              <a:rPr lang="en-US" sz="1050" b="1" dirty="0">
                <a:solidFill>
                  <a:schemeClr val="tx2"/>
                </a:solidFill>
              </a:rPr>
              <a:t>10. Sales, Marketing &amp; Communication Strategy Toolkit</a:t>
            </a:r>
            <a:endParaRPr lang="en-US" sz="1050" b="1" dirty="0">
              <a:solidFill>
                <a:srgbClr val="002060"/>
              </a:solidFill>
            </a:endParaRPr>
          </a:p>
        </p:txBody>
      </p:sp>
      <p:sp>
        <p:nvSpPr>
          <p:cNvPr id="121" name="Rectangle 120">
            <a:extLst>
              <a:ext uri="{FF2B5EF4-FFF2-40B4-BE49-F238E27FC236}">
                <a16:creationId xmlns:a16="http://schemas.microsoft.com/office/drawing/2014/main" id="{8E8208E4-CB0D-6EF1-2429-8C15E934AE8D}"/>
              </a:ext>
            </a:extLst>
          </p:cNvPr>
          <p:cNvSpPr>
            <a:spLocks noChangeArrowheads="1"/>
          </p:cNvSpPr>
          <p:nvPr/>
        </p:nvSpPr>
        <p:spPr bwMode="auto">
          <a:xfrm>
            <a:off x="2810349"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2. </a:t>
            </a:r>
            <a:r>
              <a:rPr lang="en-US" sz="1050" b="1" dirty="0">
                <a:solidFill>
                  <a:srgbClr val="002060"/>
                </a:solidFill>
              </a:rPr>
              <a:t>Supply Chain Strategy Toolkit</a:t>
            </a:r>
            <a:endParaRPr lang="en-US" sz="1050" b="1" dirty="0">
              <a:solidFill>
                <a:schemeClr val="tx2"/>
              </a:solidFill>
            </a:endParaRPr>
          </a:p>
        </p:txBody>
      </p:sp>
      <p:sp>
        <p:nvSpPr>
          <p:cNvPr id="122" name="Rectangle 121">
            <a:extLst>
              <a:ext uri="{FF2B5EF4-FFF2-40B4-BE49-F238E27FC236}">
                <a16:creationId xmlns:a16="http://schemas.microsoft.com/office/drawing/2014/main" id="{46586B85-E52C-2304-9CD4-976D9E4E39F4}"/>
              </a:ext>
            </a:extLst>
          </p:cNvPr>
          <p:cNvSpPr>
            <a:spLocks noChangeArrowheads="1"/>
          </p:cNvSpPr>
          <p:nvPr/>
        </p:nvSpPr>
        <p:spPr bwMode="auto">
          <a:xfrm>
            <a:off x="5011650"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3. Lean 6 Sigma Toolkit</a:t>
            </a:r>
          </a:p>
        </p:txBody>
      </p:sp>
      <p:sp>
        <p:nvSpPr>
          <p:cNvPr id="123" name="Rectangle 122">
            <a:extLst>
              <a:ext uri="{FF2B5EF4-FFF2-40B4-BE49-F238E27FC236}">
                <a16:creationId xmlns:a16="http://schemas.microsoft.com/office/drawing/2014/main" id="{7D90D3F8-D499-B2F3-DF04-A850A95591F9}"/>
              </a:ext>
            </a:extLst>
          </p:cNvPr>
          <p:cNvSpPr>
            <a:spLocks noChangeArrowheads="1"/>
          </p:cNvSpPr>
          <p:nvPr/>
        </p:nvSpPr>
        <p:spPr bwMode="auto">
          <a:xfrm>
            <a:off x="7212951"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4. Risk Management Toolkit </a:t>
            </a:r>
          </a:p>
        </p:txBody>
      </p:sp>
      <p:sp>
        <p:nvSpPr>
          <p:cNvPr id="124" name="Rectangle 123">
            <a:extLst>
              <a:ext uri="{FF2B5EF4-FFF2-40B4-BE49-F238E27FC236}">
                <a16:creationId xmlns:a16="http://schemas.microsoft.com/office/drawing/2014/main" id="{5930397F-943F-658A-4AAD-01CA87EAC506}"/>
              </a:ext>
            </a:extLst>
          </p:cNvPr>
          <p:cNvSpPr>
            <a:spLocks noChangeArrowheads="1"/>
          </p:cNvSpPr>
          <p:nvPr/>
        </p:nvSpPr>
        <p:spPr bwMode="auto">
          <a:xfrm>
            <a:off x="9414251"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GB" sz="1050" b="1" dirty="0">
                <a:solidFill>
                  <a:schemeClr val="tx2"/>
                </a:solidFill>
              </a:rPr>
              <a:t>15. Leadership Development Toolkit</a:t>
            </a:r>
            <a:endParaRPr lang="en-US" sz="1050" b="1" dirty="0">
              <a:solidFill>
                <a:schemeClr val="tx2"/>
              </a:solidFill>
            </a:endParaRPr>
          </a:p>
        </p:txBody>
      </p:sp>
      <p:sp>
        <p:nvSpPr>
          <p:cNvPr id="125" name="Rectangle 124">
            <a:extLst>
              <a:ext uri="{FF2B5EF4-FFF2-40B4-BE49-F238E27FC236}">
                <a16:creationId xmlns:a16="http://schemas.microsoft.com/office/drawing/2014/main" id="{6B74E3D5-B63B-6A46-F024-0449A85EA0A4}"/>
              </a:ext>
            </a:extLst>
          </p:cNvPr>
          <p:cNvSpPr>
            <a:spLocks noChangeArrowheads="1"/>
          </p:cNvSpPr>
          <p:nvPr/>
        </p:nvSpPr>
        <p:spPr bwMode="auto">
          <a:xfrm>
            <a:off x="2810349"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0" tIns="91440" rIns="0" bIns="91440" anchor="t">
            <a:normAutofit/>
          </a:bodyPr>
          <a:lstStyle/>
          <a:p>
            <a:pPr algn="ctr"/>
            <a:r>
              <a:rPr lang="en-US" sz="1050" b="1" dirty="0">
                <a:solidFill>
                  <a:schemeClr val="tx2"/>
                </a:solidFill>
              </a:rPr>
              <a:t>17. Customer Experience Strategy &amp; Design Thinking Toolkit</a:t>
            </a:r>
          </a:p>
        </p:txBody>
      </p:sp>
      <p:sp>
        <p:nvSpPr>
          <p:cNvPr id="126" name="Rectangle 125">
            <a:extLst>
              <a:ext uri="{FF2B5EF4-FFF2-40B4-BE49-F238E27FC236}">
                <a16:creationId xmlns:a16="http://schemas.microsoft.com/office/drawing/2014/main" id="{8D04E3C5-6CEE-C8B9-B7E0-3A047CB47462}"/>
              </a:ext>
            </a:extLst>
          </p:cNvPr>
          <p:cNvSpPr>
            <a:spLocks noChangeArrowheads="1"/>
          </p:cNvSpPr>
          <p:nvPr/>
        </p:nvSpPr>
        <p:spPr bwMode="auto">
          <a:xfrm>
            <a:off x="5011650"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8. Data Analytics Strategy Toolkit</a:t>
            </a:r>
          </a:p>
        </p:txBody>
      </p:sp>
      <p:sp>
        <p:nvSpPr>
          <p:cNvPr id="127" name="Rectangle 126">
            <a:extLst>
              <a:ext uri="{FF2B5EF4-FFF2-40B4-BE49-F238E27FC236}">
                <a16:creationId xmlns:a16="http://schemas.microsoft.com/office/drawing/2014/main" id="{1607D25E-5270-E306-C1C5-51F3F2E5145F}"/>
              </a:ext>
            </a:extLst>
          </p:cNvPr>
          <p:cNvSpPr>
            <a:spLocks noChangeArrowheads="1"/>
          </p:cNvSpPr>
          <p:nvPr/>
        </p:nvSpPr>
        <p:spPr bwMode="auto">
          <a:xfrm>
            <a:off x="7212951"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9. </a:t>
            </a:r>
            <a:r>
              <a:rPr lang="en-GB" sz="1050" b="1" dirty="0">
                <a:solidFill>
                  <a:schemeClr val="tx2"/>
                </a:solidFill>
              </a:rPr>
              <a:t>Warren Buffet Value Investing Strategy Toolkit</a:t>
            </a:r>
            <a:endParaRPr lang="en-US" sz="1050" b="1" dirty="0">
              <a:solidFill>
                <a:schemeClr val="tx2"/>
              </a:solidFill>
            </a:endParaRPr>
          </a:p>
        </p:txBody>
      </p:sp>
      <p:sp>
        <p:nvSpPr>
          <p:cNvPr id="128" name="Rectangle 127">
            <a:extLst>
              <a:ext uri="{FF2B5EF4-FFF2-40B4-BE49-F238E27FC236}">
                <a16:creationId xmlns:a16="http://schemas.microsoft.com/office/drawing/2014/main" id="{EC934F31-E734-A9EA-03A7-5D28FC71A303}"/>
              </a:ext>
            </a:extLst>
          </p:cNvPr>
          <p:cNvSpPr>
            <a:spLocks noChangeArrowheads="1"/>
          </p:cNvSpPr>
          <p:nvPr/>
        </p:nvSpPr>
        <p:spPr bwMode="auto">
          <a:xfrm>
            <a:off x="9414251"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36000" tIns="91440" rIns="36000" bIns="91440" anchor="t">
            <a:normAutofit/>
          </a:bodyPr>
          <a:lstStyle/>
          <a:p>
            <a:pPr algn="ctr"/>
            <a:r>
              <a:rPr lang="en-US" sz="1050" b="1" dirty="0"/>
              <a:t>Need another Toolkit?</a:t>
            </a:r>
          </a:p>
          <a:p>
            <a:pPr algn="ctr"/>
            <a:endParaRPr lang="en-US" sz="1050" b="1" dirty="0">
              <a:solidFill>
                <a:schemeClr val="tx2"/>
              </a:solidFill>
            </a:endParaRPr>
          </a:p>
          <a:p>
            <a:pPr algn="ctr"/>
            <a:r>
              <a:rPr lang="en-US" sz="1050" dirty="0">
                <a:solidFill>
                  <a:schemeClr val="tx2"/>
                </a:solidFill>
              </a:rPr>
              <a:t>Let us know by sending an email at support@domontconsulting.com</a:t>
            </a:r>
            <a:endParaRPr lang="en-US" sz="1050" b="1" dirty="0">
              <a:solidFill>
                <a:schemeClr val="tx2"/>
              </a:solidFill>
            </a:endParaRPr>
          </a:p>
        </p:txBody>
      </p:sp>
      <p:pic>
        <p:nvPicPr>
          <p:cNvPr id="129" name="Graphic 128" descr="Playbook">
            <a:extLst>
              <a:ext uri="{FF2B5EF4-FFF2-40B4-BE49-F238E27FC236}">
                <a16:creationId xmlns:a16="http://schemas.microsoft.com/office/drawing/2014/main" id="{46BE37AD-D108-0BEF-8826-BDFADC9D8FC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75674" y="2040852"/>
            <a:ext cx="603938" cy="603938"/>
          </a:xfrm>
          <a:prstGeom prst="rect">
            <a:avLst/>
          </a:prstGeom>
        </p:spPr>
      </p:pic>
      <p:pic>
        <p:nvPicPr>
          <p:cNvPr id="130" name="Graphic 129" descr="Stream">
            <a:extLst>
              <a:ext uri="{FF2B5EF4-FFF2-40B4-BE49-F238E27FC236}">
                <a16:creationId xmlns:a16="http://schemas.microsoft.com/office/drawing/2014/main" id="{6D054838-488C-423E-FBE2-DB9B3C91403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65787" y="2023694"/>
            <a:ext cx="654151" cy="654151"/>
          </a:xfrm>
          <a:prstGeom prst="rect">
            <a:avLst/>
          </a:prstGeom>
        </p:spPr>
      </p:pic>
      <p:pic>
        <p:nvPicPr>
          <p:cNvPr id="131" name="Graphic 130" descr="Network diagram with solid fill">
            <a:extLst>
              <a:ext uri="{FF2B5EF4-FFF2-40B4-BE49-F238E27FC236}">
                <a16:creationId xmlns:a16="http://schemas.microsoft.com/office/drawing/2014/main" id="{48EA1DD4-0F8E-1FCB-FCB0-0211E9C6EB9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6200000">
            <a:off x="5740049" y="2023695"/>
            <a:ext cx="617089" cy="617089"/>
          </a:xfrm>
          <a:prstGeom prst="rect">
            <a:avLst/>
          </a:prstGeom>
        </p:spPr>
      </p:pic>
      <p:pic>
        <p:nvPicPr>
          <p:cNvPr id="132" name="Graphic 131" descr="Meeting with solid fill">
            <a:extLst>
              <a:ext uri="{FF2B5EF4-FFF2-40B4-BE49-F238E27FC236}">
                <a16:creationId xmlns:a16="http://schemas.microsoft.com/office/drawing/2014/main" id="{02E0CDC8-EE83-DCBB-4225-B2D1D90811C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188172" y="2028281"/>
            <a:ext cx="592085" cy="592085"/>
          </a:xfrm>
          <a:prstGeom prst="rect">
            <a:avLst/>
          </a:prstGeom>
        </p:spPr>
      </p:pic>
      <p:pic>
        <p:nvPicPr>
          <p:cNvPr id="146" name="Graphic 145" descr="Chess pieces with solid fill">
            <a:extLst>
              <a:ext uri="{FF2B5EF4-FFF2-40B4-BE49-F238E27FC236}">
                <a16:creationId xmlns:a16="http://schemas.microsoft.com/office/drawing/2014/main" id="{B9E7A64F-2DEB-B910-7420-0510C6EECB1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350578" y="3169359"/>
            <a:ext cx="634505" cy="634505"/>
          </a:xfrm>
          <a:prstGeom prst="rect">
            <a:avLst/>
          </a:prstGeom>
        </p:spPr>
      </p:pic>
      <p:pic>
        <p:nvPicPr>
          <p:cNvPr id="147" name="Graphic 146" descr="Puzzle pieces">
            <a:extLst>
              <a:ext uri="{FF2B5EF4-FFF2-40B4-BE49-F238E27FC236}">
                <a16:creationId xmlns:a16="http://schemas.microsoft.com/office/drawing/2014/main" id="{1ED7C9C1-A22E-3033-E5AF-A49B5D197F7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969884" y="3225171"/>
            <a:ext cx="663125" cy="663125"/>
          </a:xfrm>
          <a:prstGeom prst="rect">
            <a:avLst/>
          </a:prstGeom>
        </p:spPr>
      </p:pic>
      <p:pic>
        <p:nvPicPr>
          <p:cNvPr id="148" name="Graphic 147" descr="Handshake with solid fill">
            <a:extLst>
              <a:ext uri="{FF2B5EF4-FFF2-40B4-BE49-F238E27FC236}">
                <a16:creationId xmlns:a16="http://schemas.microsoft.com/office/drawing/2014/main" id="{A4776116-AC6F-474F-AF33-853F967D812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711088" y="3225171"/>
            <a:ext cx="663125" cy="663125"/>
          </a:xfrm>
          <a:prstGeom prst="rect">
            <a:avLst/>
          </a:prstGeom>
        </p:spPr>
      </p:pic>
      <p:pic>
        <p:nvPicPr>
          <p:cNvPr id="149" name="Graphic 148" descr="Bullseye">
            <a:extLst>
              <a:ext uri="{FF2B5EF4-FFF2-40B4-BE49-F238E27FC236}">
                <a16:creationId xmlns:a16="http://schemas.microsoft.com/office/drawing/2014/main" id="{B2B8E08C-3A17-0373-790F-1C9767240B3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155162" y="3262075"/>
            <a:ext cx="646247" cy="646246"/>
          </a:xfrm>
          <a:prstGeom prst="rect">
            <a:avLst/>
          </a:prstGeom>
        </p:spPr>
      </p:pic>
      <p:pic>
        <p:nvPicPr>
          <p:cNvPr id="150" name="Graphic 149" descr="Business Growth">
            <a:extLst>
              <a:ext uri="{FF2B5EF4-FFF2-40B4-BE49-F238E27FC236}">
                <a16:creationId xmlns:a16="http://schemas.microsoft.com/office/drawing/2014/main" id="{B172C5A0-91A0-DCE4-D3C4-537C8EF8D3FE}"/>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541384" y="3296365"/>
            <a:ext cx="631151" cy="631150"/>
          </a:xfrm>
          <a:prstGeom prst="rect">
            <a:avLst/>
          </a:prstGeom>
        </p:spPr>
      </p:pic>
      <p:pic>
        <p:nvPicPr>
          <p:cNvPr id="151" name="Graphic 150" descr="Plant">
            <a:extLst>
              <a:ext uri="{FF2B5EF4-FFF2-40B4-BE49-F238E27FC236}">
                <a16:creationId xmlns:a16="http://schemas.microsoft.com/office/drawing/2014/main" id="{5C2FC643-B4DF-718E-0C58-5244E9B9D073}"/>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310014" y="4542235"/>
            <a:ext cx="580280" cy="580280"/>
          </a:xfrm>
          <a:prstGeom prst="rect">
            <a:avLst/>
          </a:prstGeom>
        </p:spPr>
      </p:pic>
      <p:pic>
        <p:nvPicPr>
          <p:cNvPr id="152" name="Graphic 151" descr="Factory">
            <a:extLst>
              <a:ext uri="{FF2B5EF4-FFF2-40B4-BE49-F238E27FC236}">
                <a16:creationId xmlns:a16="http://schemas.microsoft.com/office/drawing/2014/main" id="{AEE9995D-FFCB-B510-3AD3-C4896CCD51A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515812" y="4487906"/>
            <a:ext cx="688936" cy="688937"/>
          </a:xfrm>
          <a:prstGeom prst="rect">
            <a:avLst/>
          </a:prstGeom>
        </p:spPr>
      </p:pic>
      <p:pic>
        <p:nvPicPr>
          <p:cNvPr id="153" name="Graphic 152" descr="Lecturer">
            <a:extLst>
              <a:ext uri="{FF2B5EF4-FFF2-40B4-BE49-F238E27FC236}">
                <a16:creationId xmlns:a16="http://schemas.microsoft.com/office/drawing/2014/main" id="{8F994509-AA86-2958-11C6-CF186A3F13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0158031" y="4546670"/>
            <a:ext cx="630174" cy="630173"/>
          </a:xfrm>
          <a:prstGeom prst="rect">
            <a:avLst/>
          </a:prstGeom>
        </p:spPr>
      </p:pic>
      <p:pic>
        <p:nvPicPr>
          <p:cNvPr id="154" name="Graphic 153" descr="Shield Tick">
            <a:extLst>
              <a:ext uri="{FF2B5EF4-FFF2-40B4-BE49-F238E27FC236}">
                <a16:creationId xmlns:a16="http://schemas.microsoft.com/office/drawing/2014/main" id="{125D1B17-0482-1BD1-3BC2-933DDAF641C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7973961" y="4461955"/>
            <a:ext cx="631632" cy="631632"/>
          </a:xfrm>
          <a:prstGeom prst="rect">
            <a:avLst/>
          </a:prstGeom>
        </p:spPr>
      </p:pic>
      <p:pic>
        <p:nvPicPr>
          <p:cNvPr id="155" name="Graphic 154" descr="Money">
            <a:extLst>
              <a:ext uri="{FF2B5EF4-FFF2-40B4-BE49-F238E27FC236}">
                <a16:creationId xmlns:a16="http://schemas.microsoft.com/office/drawing/2014/main" id="{AB1E46C8-AE71-28D2-CB5E-A5B16BB7EE60}"/>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267923" y="5736816"/>
            <a:ext cx="724960" cy="724960"/>
          </a:xfrm>
          <a:prstGeom prst="rect">
            <a:avLst/>
          </a:prstGeom>
        </p:spPr>
      </p:pic>
      <p:pic>
        <p:nvPicPr>
          <p:cNvPr id="156" name="Graphic 155" descr="Ui Ux with solid fill">
            <a:extLst>
              <a:ext uri="{FF2B5EF4-FFF2-40B4-BE49-F238E27FC236}">
                <a16:creationId xmlns:a16="http://schemas.microsoft.com/office/drawing/2014/main" id="{EF56443E-4883-0B3C-8077-3CADCFD0DF26}"/>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492898" y="5897880"/>
            <a:ext cx="675422" cy="675422"/>
          </a:xfrm>
          <a:prstGeom prst="rect">
            <a:avLst/>
          </a:prstGeom>
        </p:spPr>
      </p:pic>
      <p:pic>
        <p:nvPicPr>
          <p:cNvPr id="157" name="Graphic 156" descr="Workflow with solid fill">
            <a:extLst>
              <a:ext uri="{FF2B5EF4-FFF2-40B4-BE49-F238E27FC236}">
                <a16:creationId xmlns:a16="http://schemas.microsoft.com/office/drawing/2014/main" id="{824F61D0-FDAE-025C-90F6-8A001B288374}"/>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681165" y="4423682"/>
            <a:ext cx="750198" cy="750198"/>
          </a:xfrm>
          <a:prstGeom prst="rect">
            <a:avLst/>
          </a:prstGeom>
        </p:spPr>
      </p:pic>
      <p:grpSp>
        <p:nvGrpSpPr>
          <p:cNvPr id="158" name="Analytics9" descr="{&quot;Key&quot;:&quot;POWER_USER_SHAPE_ICON&quot;,&quot;Value&quot;:&quot;POWER_USER_SHAPE_ICON_STYLE_1&quot;}">
            <a:extLst>
              <a:ext uri="{FF2B5EF4-FFF2-40B4-BE49-F238E27FC236}">
                <a16:creationId xmlns:a16="http://schemas.microsoft.com/office/drawing/2014/main" id="{247EB154-9B8E-73FD-2105-2C4DDCE815FB}"/>
              </a:ext>
            </a:extLst>
          </p:cNvPr>
          <p:cNvGrpSpPr>
            <a:grpSpLocks noChangeAspect="1"/>
          </p:cNvGrpSpPr>
          <p:nvPr>
            <p:custDataLst>
              <p:tags r:id="rId3"/>
            </p:custDataLst>
          </p:nvPr>
        </p:nvGrpSpPr>
        <p:grpSpPr>
          <a:xfrm>
            <a:off x="5757358" y="5844193"/>
            <a:ext cx="651145" cy="499237"/>
            <a:chOff x="4157663" y="1574800"/>
            <a:chExt cx="935038" cy="793750"/>
          </a:xfrm>
          <a:solidFill>
            <a:schemeClr val="tx1"/>
          </a:solidFill>
        </p:grpSpPr>
        <p:sp>
          <p:nvSpPr>
            <p:cNvPr id="159" name="Freeform 127">
              <a:extLst>
                <a:ext uri="{FF2B5EF4-FFF2-40B4-BE49-F238E27FC236}">
                  <a16:creationId xmlns:a16="http://schemas.microsoft.com/office/drawing/2014/main" id="{DEF0669F-7087-F604-395F-BA3F9B0BC6BB}"/>
                </a:ext>
              </a:extLst>
            </p:cNvPr>
            <p:cNvSpPr>
              <a:spLocks/>
            </p:cNvSpPr>
            <p:nvPr/>
          </p:nvSpPr>
          <p:spPr bwMode="auto">
            <a:xfrm>
              <a:off x="4157663" y="1846262"/>
              <a:ext cx="306388" cy="177800"/>
            </a:xfrm>
            <a:custGeom>
              <a:avLst/>
              <a:gdLst>
                <a:gd name="T0" fmla="*/ 74 w 402"/>
                <a:gd name="T1" fmla="*/ 196 h 233"/>
                <a:gd name="T2" fmla="*/ 72 w 402"/>
                <a:gd name="T3" fmla="*/ 184 h 233"/>
                <a:gd name="T4" fmla="*/ 127 w 402"/>
                <a:gd name="T5" fmla="*/ 122 h 233"/>
                <a:gd name="T6" fmla="*/ 142 w 402"/>
                <a:gd name="T7" fmla="*/ 126 h 233"/>
                <a:gd name="T8" fmla="*/ 172 w 402"/>
                <a:gd name="T9" fmla="*/ 110 h 233"/>
                <a:gd name="T10" fmla="*/ 240 w 402"/>
                <a:gd name="T11" fmla="*/ 134 h 233"/>
                <a:gd name="T12" fmla="*/ 240 w 402"/>
                <a:gd name="T13" fmla="*/ 134 h 233"/>
                <a:gd name="T14" fmla="*/ 277 w 402"/>
                <a:gd name="T15" fmla="*/ 171 h 233"/>
                <a:gd name="T16" fmla="*/ 314 w 402"/>
                <a:gd name="T17" fmla="*/ 134 h 233"/>
                <a:gd name="T18" fmla="*/ 310 w 402"/>
                <a:gd name="T19" fmla="*/ 118 h 233"/>
                <a:gd name="T20" fmla="*/ 354 w 402"/>
                <a:gd name="T21" fmla="*/ 72 h 233"/>
                <a:gd name="T22" fmla="*/ 365 w 402"/>
                <a:gd name="T23" fmla="*/ 74 h 233"/>
                <a:gd name="T24" fmla="*/ 402 w 402"/>
                <a:gd name="T25" fmla="*/ 37 h 233"/>
                <a:gd name="T26" fmla="*/ 365 w 402"/>
                <a:gd name="T27" fmla="*/ 0 h 233"/>
                <a:gd name="T28" fmla="*/ 329 w 402"/>
                <a:gd name="T29" fmla="*/ 37 h 233"/>
                <a:gd name="T30" fmla="*/ 331 w 402"/>
                <a:gd name="T31" fmla="*/ 50 h 233"/>
                <a:gd name="T32" fmla="*/ 285 w 402"/>
                <a:gd name="T33" fmla="*/ 99 h 233"/>
                <a:gd name="T34" fmla="*/ 277 w 402"/>
                <a:gd name="T35" fmla="*/ 97 h 233"/>
                <a:gd name="T36" fmla="*/ 254 w 402"/>
                <a:gd name="T37" fmla="*/ 105 h 233"/>
                <a:gd name="T38" fmla="*/ 177 w 402"/>
                <a:gd name="T39" fmla="*/ 78 h 233"/>
                <a:gd name="T40" fmla="*/ 142 w 402"/>
                <a:gd name="T41" fmla="*/ 52 h 233"/>
                <a:gd name="T42" fmla="*/ 105 w 402"/>
                <a:gd name="T43" fmla="*/ 89 h 233"/>
                <a:gd name="T44" fmla="*/ 106 w 402"/>
                <a:gd name="T45" fmla="*/ 98 h 233"/>
                <a:gd name="T46" fmla="*/ 50 w 402"/>
                <a:gd name="T47" fmla="*/ 162 h 233"/>
                <a:gd name="T48" fmla="*/ 37 w 402"/>
                <a:gd name="T49" fmla="*/ 159 h 233"/>
                <a:gd name="T50" fmla="*/ 0 w 402"/>
                <a:gd name="T51" fmla="*/ 196 h 233"/>
                <a:gd name="T52" fmla="*/ 37 w 402"/>
                <a:gd name="T53" fmla="*/ 233 h 233"/>
                <a:gd name="T54" fmla="*/ 74 w 402"/>
                <a:gd name="T55" fmla="*/ 19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2" h="233">
                  <a:moveTo>
                    <a:pt x="74" y="196"/>
                  </a:moveTo>
                  <a:cubicBezTo>
                    <a:pt x="74" y="192"/>
                    <a:pt x="73" y="188"/>
                    <a:pt x="72" y="184"/>
                  </a:cubicBezTo>
                  <a:lnTo>
                    <a:pt x="127" y="122"/>
                  </a:lnTo>
                  <a:cubicBezTo>
                    <a:pt x="131" y="124"/>
                    <a:pt x="136" y="126"/>
                    <a:pt x="142" y="126"/>
                  </a:cubicBezTo>
                  <a:cubicBezTo>
                    <a:pt x="154" y="126"/>
                    <a:pt x="165" y="119"/>
                    <a:pt x="172" y="110"/>
                  </a:cubicBezTo>
                  <a:lnTo>
                    <a:pt x="240" y="134"/>
                  </a:lnTo>
                  <a:cubicBezTo>
                    <a:pt x="240" y="134"/>
                    <a:pt x="240" y="134"/>
                    <a:pt x="240" y="134"/>
                  </a:cubicBezTo>
                  <a:cubicBezTo>
                    <a:pt x="240" y="155"/>
                    <a:pt x="257" y="171"/>
                    <a:pt x="277" y="171"/>
                  </a:cubicBezTo>
                  <a:cubicBezTo>
                    <a:pt x="297" y="171"/>
                    <a:pt x="314" y="155"/>
                    <a:pt x="314" y="134"/>
                  </a:cubicBezTo>
                  <a:cubicBezTo>
                    <a:pt x="314" y="128"/>
                    <a:pt x="312" y="123"/>
                    <a:pt x="310" y="118"/>
                  </a:cubicBezTo>
                  <a:lnTo>
                    <a:pt x="354" y="72"/>
                  </a:lnTo>
                  <a:cubicBezTo>
                    <a:pt x="357" y="73"/>
                    <a:pt x="361" y="74"/>
                    <a:pt x="365" y="74"/>
                  </a:cubicBezTo>
                  <a:cubicBezTo>
                    <a:pt x="386" y="74"/>
                    <a:pt x="402" y="57"/>
                    <a:pt x="402" y="37"/>
                  </a:cubicBezTo>
                  <a:cubicBezTo>
                    <a:pt x="402" y="17"/>
                    <a:pt x="386" y="0"/>
                    <a:pt x="365" y="0"/>
                  </a:cubicBezTo>
                  <a:cubicBezTo>
                    <a:pt x="345" y="0"/>
                    <a:pt x="329" y="17"/>
                    <a:pt x="329" y="37"/>
                  </a:cubicBezTo>
                  <a:cubicBezTo>
                    <a:pt x="329" y="42"/>
                    <a:pt x="329" y="46"/>
                    <a:pt x="331" y="50"/>
                  </a:cubicBezTo>
                  <a:lnTo>
                    <a:pt x="285" y="99"/>
                  </a:lnTo>
                  <a:cubicBezTo>
                    <a:pt x="283" y="98"/>
                    <a:pt x="280" y="97"/>
                    <a:pt x="277" y="97"/>
                  </a:cubicBezTo>
                  <a:cubicBezTo>
                    <a:pt x="268" y="97"/>
                    <a:pt x="261" y="101"/>
                    <a:pt x="254" y="105"/>
                  </a:cubicBezTo>
                  <a:lnTo>
                    <a:pt x="177" y="78"/>
                  </a:lnTo>
                  <a:cubicBezTo>
                    <a:pt x="172" y="63"/>
                    <a:pt x="158" y="52"/>
                    <a:pt x="142" y="52"/>
                  </a:cubicBezTo>
                  <a:cubicBezTo>
                    <a:pt x="121" y="52"/>
                    <a:pt x="105" y="68"/>
                    <a:pt x="105" y="89"/>
                  </a:cubicBezTo>
                  <a:cubicBezTo>
                    <a:pt x="105" y="92"/>
                    <a:pt x="106" y="95"/>
                    <a:pt x="106" y="98"/>
                  </a:cubicBezTo>
                  <a:lnTo>
                    <a:pt x="50" y="162"/>
                  </a:lnTo>
                  <a:cubicBezTo>
                    <a:pt x="46" y="160"/>
                    <a:pt x="42" y="159"/>
                    <a:pt x="37" y="159"/>
                  </a:cubicBezTo>
                  <a:cubicBezTo>
                    <a:pt x="17" y="159"/>
                    <a:pt x="0" y="175"/>
                    <a:pt x="0" y="196"/>
                  </a:cubicBezTo>
                  <a:cubicBezTo>
                    <a:pt x="0" y="216"/>
                    <a:pt x="17" y="233"/>
                    <a:pt x="37" y="233"/>
                  </a:cubicBezTo>
                  <a:cubicBezTo>
                    <a:pt x="57" y="233"/>
                    <a:pt x="74" y="216"/>
                    <a:pt x="74" y="19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0" name="Rectangle 128">
              <a:extLst>
                <a:ext uri="{FF2B5EF4-FFF2-40B4-BE49-F238E27FC236}">
                  <a16:creationId xmlns:a16="http://schemas.microsoft.com/office/drawing/2014/main" id="{783026FF-FE0D-8851-B1CC-163F0926D24A}"/>
                </a:ext>
              </a:extLst>
            </p:cNvPr>
            <p:cNvSpPr>
              <a:spLocks noChangeArrowheads="1"/>
            </p:cNvSpPr>
            <p:nvPr/>
          </p:nvSpPr>
          <p:spPr bwMode="auto">
            <a:xfrm>
              <a:off x="4230688" y="1662112"/>
              <a:ext cx="46038" cy="1270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1" name="Rectangle 129">
              <a:extLst>
                <a:ext uri="{FF2B5EF4-FFF2-40B4-BE49-F238E27FC236}">
                  <a16:creationId xmlns:a16="http://schemas.microsoft.com/office/drawing/2014/main" id="{5B78FA66-23A9-5E21-DC01-6AFC50E57524}"/>
                </a:ext>
              </a:extLst>
            </p:cNvPr>
            <p:cNvSpPr>
              <a:spLocks noChangeArrowheads="1"/>
            </p:cNvSpPr>
            <p:nvPr/>
          </p:nvSpPr>
          <p:spPr bwMode="auto">
            <a:xfrm>
              <a:off x="4394201" y="1630362"/>
              <a:ext cx="47625" cy="158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2" name="Rectangle 130">
              <a:extLst>
                <a:ext uri="{FF2B5EF4-FFF2-40B4-BE49-F238E27FC236}">
                  <a16:creationId xmlns:a16="http://schemas.microsoft.com/office/drawing/2014/main" id="{71CD5021-AAF3-E3DB-D203-EC0D15B0EB56}"/>
                </a:ext>
              </a:extLst>
            </p:cNvPr>
            <p:cNvSpPr>
              <a:spLocks noChangeArrowheads="1"/>
            </p:cNvSpPr>
            <p:nvPr/>
          </p:nvSpPr>
          <p:spPr bwMode="auto">
            <a:xfrm>
              <a:off x="4313238" y="1574800"/>
              <a:ext cx="46038" cy="2143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3" name="Freeform 131">
              <a:extLst>
                <a:ext uri="{FF2B5EF4-FFF2-40B4-BE49-F238E27FC236}">
                  <a16:creationId xmlns:a16="http://schemas.microsoft.com/office/drawing/2014/main" id="{389F0BCE-15D7-5EC2-D3E1-550AF0C15B7F}"/>
                </a:ext>
              </a:extLst>
            </p:cNvPr>
            <p:cNvSpPr>
              <a:spLocks/>
            </p:cNvSpPr>
            <p:nvPr/>
          </p:nvSpPr>
          <p:spPr bwMode="auto">
            <a:xfrm>
              <a:off x="4814888" y="1701800"/>
              <a:ext cx="130175" cy="222250"/>
            </a:xfrm>
            <a:custGeom>
              <a:avLst/>
              <a:gdLst>
                <a:gd name="T0" fmla="*/ 57 w 170"/>
                <a:gd name="T1" fmla="*/ 61 h 292"/>
                <a:gd name="T2" fmla="*/ 64 w 170"/>
                <a:gd name="T3" fmla="*/ 292 h 292"/>
                <a:gd name="T4" fmla="*/ 170 w 170"/>
                <a:gd name="T5" fmla="*/ 165 h 292"/>
                <a:gd name="T6" fmla="*/ 170 w 170"/>
                <a:gd name="T7" fmla="*/ 0 h 292"/>
                <a:gd name="T8" fmla="*/ 57 w 170"/>
                <a:gd name="T9" fmla="*/ 61 h 292"/>
              </a:gdLst>
              <a:ahLst/>
              <a:cxnLst>
                <a:cxn ang="0">
                  <a:pos x="T0" y="T1"/>
                </a:cxn>
                <a:cxn ang="0">
                  <a:pos x="T2" y="T3"/>
                </a:cxn>
                <a:cxn ang="0">
                  <a:pos x="T4" y="T5"/>
                </a:cxn>
                <a:cxn ang="0">
                  <a:pos x="T6" y="T7"/>
                </a:cxn>
                <a:cxn ang="0">
                  <a:pos x="T8" y="T9"/>
                </a:cxn>
              </a:cxnLst>
              <a:rect l="0" t="0" r="r" b="b"/>
              <a:pathLst>
                <a:path w="170" h="292">
                  <a:moveTo>
                    <a:pt x="57" y="61"/>
                  </a:moveTo>
                  <a:cubicBezTo>
                    <a:pt x="0" y="129"/>
                    <a:pt x="4" y="229"/>
                    <a:pt x="64" y="292"/>
                  </a:cubicBezTo>
                  <a:lnTo>
                    <a:pt x="170" y="165"/>
                  </a:lnTo>
                  <a:lnTo>
                    <a:pt x="170" y="0"/>
                  </a:lnTo>
                  <a:cubicBezTo>
                    <a:pt x="125" y="5"/>
                    <a:pt x="87" y="25"/>
                    <a:pt x="57" y="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4" name="Freeform 132">
              <a:extLst>
                <a:ext uri="{FF2B5EF4-FFF2-40B4-BE49-F238E27FC236}">
                  <a16:creationId xmlns:a16="http://schemas.microsoft.com/office/drawing/2014/main" id="{764DD864-78ED-1529-EFFB-E32F42AFCDFA}"/>
                </a:ext>
              </a:extLst>
            </p:cNvPr>
            <p:cNvSpPr>
              <a:spLocks/>
            </p:cNvSpPr>
            <p:nvPr/>
          </p:nvSpPr>
          <p:spPr bwMode="auto">
            <a:xfrm>
              <a:off x="4887913" y="1851025"/>
              <a:ext cx="200025" cy="115888"/>
            </a:xfrm>
            <a:custGeom>
              <a:avLst/>
              <a:gdLst>
                <a:gd name="T0" fmla="*/ 103 w 261"/>
                <a:gd name="T1" fmla="*/ 0 h 151"/>
                <a:gd name="T2" fmla="*/ 0 w 261"/>
                <a:gd name="T3" fmla="*/ 123 h 151"/>
                <a:gd name="T4" fmla="*/ 64 w 261"/>
                <a:gd name="T5" fmla="*/ 148 h 151"/>
                <a:gd name="T6" fmla="*/ 95 w 261"/>
                <a:gd name="T7" fmla="*/ 151 h 151"/>
                <a:gd name="T8" fmla="*/ 261 w 261"/>
                <a:gd name="T9" fmla="*/ 27 h 151"/>
                <a:gd name="T10" fmla="*/ 103 w 261"/>
                <a:gd name="T11" fmla="*/ 0 h 151"/>
              </a:gdLst>
              <a:ahLst/>
              <a:cxnLst>
                <a:cxn ang="0">
                  <a:pos x="T0" y="T1"/>
                </a:cxn>
                <a:cxn ang="0">
                  <a:pos x="T2" y="T3"/>
                </a:cxn>
                <a:cxn ang="0">
                  <a:pos x="T4" y="T5"/>
                </a:cxn>
                <a:cxn ang="0">
                  <a:pos x="T6" y="T7"/>
                </a:cxn>
                <a:cxn ang="0">
                  <a:pos x="T8" y="T9"/>
                </a:cxn>
                <a:cxn ang="0">
                  <a:pos x="T10" y="T11"/>
                </a:cxn>
              </a:cxnLst>
              <a:rect l="0" t="0" r="r" b="b"/>
              <a:pathLst>
                <a:path w="261" h="151">
                  <a:moveTo>
                    <a:pt x="103" y="0"/>
                  </a:moveTo>
                  <a:lnTo>
                    <a:pt x="0" y="123"/>
                  </a:lnTo>
                  <a:cubicBezTo>
                    <a:pt x="19" y="136"/>
                    <a:pt x="40" y="144"/>
                    <a:pt x="64" y="148"/>
                  </a:cubicBezTo>
                  <a:cubicBezTo>
                    <a:pt x="75" y="150"/>
                    <a:pt x="85" y="151"/>
                    <a:pt x="95" y="151"/>
                  </a:cubicBezTo>
                  <a:cubicBezTo>
                    <a:pt x="172" y="151"/>
                    <a:pt x="239" y="100"/>
                    <a:pt x="261" y="27"/>
                  </a:cubicBezTo>
                  <a:lnTo>
                    <a:pt x="10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5" name="Freeform 133">
              <a:extLst>
                <a:ext uri="{FF2B5EF4-FFF2-40B4-BE49-F238E27FC236}">
                  <a16:creationId xmlns:a16="http://schemas.microsoft.com/office/drawing/2014/main" id="{C4C317DD-7791-378A-6962-F77EDC82B6EE}"/>
                </a:ext>
              </a:extLst>
            </p:cNvPr>
            <p:cNvSpPr>
              <a:spLocks/>
            </p:cNvSpPr>
            <p:nvPr/>
          </p:nvSpPr>
          <p:spPr bwMode="auto">
            <a:xfrm>
              <a:off x="4976813" y="1701800"/>
              <a:ext cx="115888" cy="138113"/>
            </a:xfrm>
            <a:custGeom>
              <a:avLst/>
              <a:gdLst>
                <a:gd name="T0" fmla="*/ 0 w 153"/>
                <a:gd name="T1" fmla="*/ 0 h 182"/>
                <a:gd name="T2" fmla="*/ 0 w 153"/>
                <a:gd name="T3" fmla="*/ 155 h 182"/>
                <a:gd name="T4" fmla="*/ 152 w 153"/>
                <a:gd name="T5" fmla="*/ 182 h 182"/>
                <a:gd name="T6" fmla="*/ 153 w 153"/>
                <a:gd name="T7" fmla="*/ 173 h 182"/>
                <a:gd name="T8" fmla="*/ 0 w 153"/>
                <a:gd name="T9" fmla="*/ 0 h 182"/>
              </a:gdLst>
              <a:ahLst/>
              <a:cxnLst>
                <a:cxn ang="0">
                  <a:pos x="T0" y="T1"/>
                </a:cxn>
                <a:cxn ang="0">
                  <a:pos x="T2" y="T3"/>
                </a:cxn>
                <a:cxn ang="0">
                  <a:pos x="T4" y="T5"/>
                </a:cxn>
                <a:cxn ang="0">
                  <a:pos x="T6" y="T7"/>
                </a:cxn>
                <a:cxn ang="0">
                  <a:pos x="T8" y="T9"/>
                </a:cxn>
              </a:cxnLst>
              <a:rect l="0" t="0" r="r" b="b"/>
              <a:pathLst>
                <a:path w="153" h="182">
                  <a:moveTo>
                    <a:pt x="0" y="0"/>
                  </a:moveTo>
                  <a:lnTo>
                    <a:pt x="0" y="155"/>
                  </a:lnTo>
                  <a:lnTo>
                    <a:pt x="152" y="182"/>
                  </a:lnTo>
                  <a:cubicBezTo>
                    <a:pt x="153" y="179"/>
                    <a:pt x="153" y="176"/>
                    <a:pt x="153" y="173"/>
                  </a:cubicBezTo>
                  <a:cubicBezTo>
                    <a:pt x="153" y="84"/>
                    <a:pt x="86" y="1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6" name="Oval 134">
              <a:extLst>
                <a:ext uri="{FF2B5EF4-FFF2-40B4-BE49-F238E27FC236}">
                  <a16:creationId xmlns:a16="http://schemas.microsoft.com/office/drawing/2014/main" id="{DDD0431B-1081-3A57-3EFA-2C07AEE64403}"/>
                </a:ext>
              </a:extLst>
            </p:cNvPr>
            <p:cNvSpPr>
              <a:spLocks noChangeArrowheads="1"/>
            </p:cNvSpPr>
            <p:nvPr/>
          </p:nvSpPr>
          <p:spPr bwMode="auto">
            <a:xfrm>
              <a:off x="4495801" y="1604962"/>
              <a:ext cx="296863" cy="2968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7" name="Freeform 135">
              <a:extLst>
                <a:ext uri="{FF2B5EF4-FFF2-40B4-BE49-F238E27FC236}">
                  <a16:creationId xmlns:a16="http://schemas.microsoft.com/office/drawing/2014/main" id="{72892451-03EA-F801-5D5C-9FE609B84068}"/>
                </a:ext>
              </a:extLst>
            </p:cNvPr>
            <p:cNvSpPr>
              <a:spLocks noEditPoints="1"/>
            </p:cNvSpPr>
            <p:nvPr/>
          </p:nvSpPr>
          <p:spPr bwMode="auto">
            <a:xfrm>
              <a:off x="4310063" y="1925637"/>
              <a:ext cx="668338" cy="442913"/>
            </a:xfrm>
            <a:custGeom>
              <a:avLst/>
              <a:gdLst>
                <a:gd name="T0" fmla="*/ 697 w 879"/>
                <a:gd name="T1" fmla="*/ 542 h 580"/>
                <a:gd name="T2" fmla="*/ 181 w 879"/>
                <a:gd name="T3" fmla="*/ 542 h 580"/>
                <a:gd name="T4" fmla="*/ 181 w 879"/>
                <a:gd name="T5" fmla="*/ 223 h 580"/>
                <a:gd name="T6" fmla="*/ 201 w 879"/>
                <a:gd name="T7" fmla="*/ 203 h 580"/>
                <a:gd name="T8" fmla="*/ 677 w 879"/>
                <a:gd name="T9" fmla="*/ 203 h 580"/>
                <a:gd name="T10" fmla="*/ 697 w 879"/>
                <a:gd name="T11" fmla="*/ 223 h 580"/>
                <a:gd name="T12" fmla="*/ 697 w 879"/>
                <a:gd name="T13" fmla="*/ 542 h 580"/>
                <a:gd name="T14" fmla="*/ 562 w 879"/>
                <a:gd name="T15" fmla="*/ 4 h 580"/>
                <a:gd name="T16" fmla="*/ 439 w 879"/>
                <a:gd name="T17" fmla="*/ 101 h 580"/>
                <a:gd name="T18" fmla="*/ 312 w 879"/>
                <a:gd name="T19" fmla="*/ 0 h 580"/>
                <a:gd name="T20" fmla="*/ 96 w 879"/>
                <a:gd name="T21" fmla="*/ 241 h 580"/>
                <a:gd name="T22" fmla="*/ 96 w 879"/>
                <a:gd name="T23" fmla="*/ 322 h 580"/>
                <a:gd name="T24" fmla="*/ 0 w 879"/>
                <a:gd name="T25" fmla="*/ 322 h 580"/>
                <a:gd name="T26" fmla="*/ 0 w 879"/>
                <a:gd name="T27" fmla="*/ 371 h 580"/>
                <a:gd name="T28" fmla="*/ 144 w 879"/>
                <a:gd name="T29" fmla="*/ 371 h 580"/>
                <a:gd name="T30" fmla="*/ 144 w 879"/>
                <a:gd name="T31" fmla="*/ 431 h 580"/>
                <a:gd name="T32" fmla="*/ 120 w 879"/>
                <a:gd name="T33" fmla="*/ 431 h 580"/>
                <a:gd name="T34" fmla="*/ 100 w 879"/>
                <a:gd name="T35" fmla="*/ 442 h 580"/>
                <a:gd name="T36" fmla="*/ 97 w 879"/>
                <a:gd name="T37" fmla="*/ 464 h 580"/>
                <a:gd name="T38" fmla="*/ 133 w 879"/>
                <a:gd name="T39" fmla="*/ 563 h 580"/>
                <a:gd name="T40" fmla="*/ 156 w 879"/>
                <a:gd name="T41" fmla="*/ 580 h 580"/>
                <a:gd name="T42" fmla="*/ 722 w 879"/>
                <a:gd name="T43" fmla="*/ 580 h 580"/>
                <a:gd name="T44" fmla="*/ 745 w 879"/>
                <a:gd name="T45" fmla="*/ 563 h 580"/>
                <a:gd name="T46" fmla="*/ 781 w 879"/>
                <a:gd name="T47" fmla="*/ 464 h 580"/>
                <a:gd name="T48" fmla="*/ 779 w 879"/>
                <a:gd name="T49" fmla="*/ 442 h 580"/>
                <a:gd name="T50" fmla="*/ 758 w 879"/>
                <a:gd name="T51" fmla="*/ 431 h 580"/>
                <a:gd name="T52" fmla="*/ 734 w 879"/>
                <a:gd name="T53" fmla="*/ 431 h 580"/>
                <a:gd name="T54" fmla="*/ 734 w 879"/>
                <a:gd name="T55" fmla="*/ 371 h 580"/>
                <a:gd name="T56" fmla="*/ 879 w 879"/>
                <a:gd name="T57" fmla="*/ 371 h 580"/>
                <a:gd name="T58" fmla="*/ 879 w 879"/>
                <a:gd name="T59" fmla="*/ 322 h 580"/>
                <a:gd name="T60" fmla="*/ 782 w 879"/>
                <a:gd name="T61" fmla="*/ 322 h 580"/>
                <a:gd name="T62" fmla="*/ 782 w 879"/>
                <a:gd name="T63" fmla="*/ 241 h 580"/>
                <a:gd name="T64" fmla="*/ 562 w 879"/>
                <a:gd name="T65" fmla="*/ 4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9" h="580">
                  <a:moveTo>
                    <a:pt x="697" y="542"/>
                  </a:moveTo>
                  <a:lnTo>
                    <a:pt x="181" y="542"/>
                  </a:lnTo>
                  <a:lnTo>
                    <a:pt x="181" y="223"/>
                  </a:lnTo>
                  <a:cubicBezTo>
                    <a:pt x="181" y="212"/>
                    <a:pt x="190" y="203"/>
                    <a:pt x="201" y="203"/>
                  </a:cubicBezTo>
                  <a:lnTo>
                    <a:pt x="677" y="203"/>
                  </a:lnTo>
                  <a:cubicBezTo>
                    <a:pt x="688" y="203"/>
                    <a:pt x="697" y="212"/>
                    <a:pt x="697" y="223"/>
                  </a:cubicBezTo>
                  <a:lnTo>
                    <a:pt x="697" y="542"/>
                  </a:lnTo>
                  <a:close/>
                  <a:moveTo>
                    <a:pt x="562" y="4"/>
                  </a:moveTo>
                  <a:lnTo>
                    <a:pt x="439" y="101"/>
                  </a:lnTo>
                  <a:lnTo>
                    <a:pt x="312" y="0"/>
                  </a:lnTo>
                  <a:cubicBezTo>
                    <a:pt x="185" y="25"/>
                    <a:pt x="96" y="95"/>
                    <a:pt x="96" y="241"/>
                  </a:cubicBezTo>
                  <a:lnTo>
                    <a:pt x="96" y="322"/>
                  </a:lnTo>
                  <a:lnTo>
                    <a:pt x="0" y="322"/>
                  </a:lnTo>
                  <a:lnTo>
                    <a:pt x="0" y="371"/>
                  </a:lnTo>
                  <a:lnTo>
                    <a:pt x="144" y="371"/>
                  </a:lnTo>
                  <a:lnTo>
                    <a:pt x="144" y="431"/>
                  </a:lnTo>
                  <a:lnTo>
                    <a:pt x="120" y="431"/>
                  </a:lnTo>
                  <a:cubicBezTo>
                    <a:pt x="112" y="431"/>
                    <a:pt x="104" y="435"/>
                    <a:pt x="100" y="442"/>
                  </a:cubicBezTo>
                  <a:cubicBezTo>
                    <a:pt x="95" y="448"/>
                    <a:pt x="94" y="457"/>
                    <a:pt x="97" y="464"/>
                  </a:cubicBezTo>
                  <a:lnTo>
                    <a:pt x="133" y="563"/>
                  </a:lnTo>
                  <a:cubicBezTo>
                    <a:pt x="136" y="573"/>
                    <a:pt x="146" y="580"/>
                    <a:pt x="156" y="580"/>
                  </a:cubicBezTo>
                  <a:lnTo>
                    <a:pt x="722" y="580"/>
                  </a:lnTo>
                  <a:cubicBezTo>
                    <a:pt x="733" y="580"/>
                    <a:pt x="742" y="573"/>
                    <a:pt x="745" y="563"/>
                  </a:cubicBezTo>
                  <a:lnTo>
                    <a:pt x="781" y="464"/>
                  </a:lnTo>
                  <a:cubicBezTo>
                    <a:pt x="784" y="456"/>
                    <a:pt x="783" y="448"/>
                    <a:pt x="779" y="442"/>
                  </a:cubicBezTo>
                  <a:cubicBezTo>
                    <a:pt x="774" y="435"/>
                    <a:pt x="766" y="431"/>
                    <a:pt x="758" y="431"/>
                  </a:cubicBezTo>
                  <a:lnTo>
                    <a:pt x="734" y="431"/>
                  </a:lnTo>
                  <a:lnTo>
                    <a:pt x="734" y="371"/>
                  </a:lnTo>
                  <a:lnTo>
                    <a:pt x="879" y="371"/>
                  </a:lnTo>
                  <a:lnTo>
                    <a:pt x="879" y="322"/>
                  </a:lnTo>
                  <a:lnTo>
                    <a:pt x="782" y="322"/>
                  </a:lnTo>
                  <a:lnTo>
                    <a:pt x="782" y="241"/>
                  </a:lnTo>
                  <a:cubicBezTo>
                    <a:pt x="782" y="118"/>
                    <a:pt x="691" y="35"/>
                    <a:pt x="562"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8" name="Oval 136">
              <a:extLst>
                <a:ext uri="{FF2B5EF4-FFF2-40B4-BE49-F238E27FC236}">
                  <a16:creationId xmlns:a16="http://schemas.microsoft.com/office/drawing/2014/main" id="{109B376D-CFEA-FA66-3CCA-216F4269A6FD}"/>
                </a:ext>
              </a:extLst>
            </p:cNvPr>
            <p:cNvSpPr>
              <a:spLocks noChangeArrowheads="1"/>
            </p:cNvSpPr>
            <p:nvPr/>
          </p:nvSpPr>
          <p:spPr bwMode="auto">
            <a:xfrm>
              <a:off x="4610101" y="2179637"/>
              <a:ext cx="68263" cy="698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grpSp>
      <p:pic>
        <p:nvPicPr>
          <p:cNvPr id="6" name="Graphic 5" descr="Upward trend with solid fill">
            <a:extLst>
              <a:ext uri="{FF2B5EF4-FFF2-40B4-BE49-F238E27FC236}">
                <a16:creationId xmlns:a16="http://schemas.microsoft.com/office/drawing/2014/main" id="{C25DAC37-5C32-50FA-28DC-A2C8E8982FB9}"/>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7951648" y="5817452"/>
            <a:ext cx="597992" cy="597992"/>
          </a:xfrm>
          <a:prstGeom prst="rect">
            <a:avLst/>
          </a:prstGeom>
        </p:spPr>
      </p:pic>
    </p:spTree>
    <p:extLst>
      <p:ext uri="{BB962C8B-B14F-4D97-AF65-F5344CB8AC3E}">
        <p14:creationId xmlns:p14="http://schemas.microsoft.com/office/powerpoint/2010/main" val="25113504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3</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45064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ontex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2" name="TextBox 1">
            <a:extLst>
              <a:ext uri="{FF2B5EF4-FFF2-40B4-BE49-F238E27FC236}">
                <a16:creationId xmlns:a16="http://schemas.microsoft.com/office/drawing/2014/main" id="{B1E2ADC7-AB60-6FC5-7EDC-EE5B353E06C5}"/>
              </a:ext>
            </a:extLst>
          </p:cNvPr>
          <p:cNvSpPr txBox="1"/>
          <p:nvPr/>
        </p:nvSpPr>
        <p:spPr>
          <a:xfrm>
            <a:off x="514114" y="1588770"/>
            <a:ext cx="11073049" cy="2031325"/>
          </a:xfrm>
          <a:prstGeom prst="rect">
            <a:avLst/>
          </a:prstGeom>
          <a:noFill/>
        </p:spPr>
        <p:txBody>
          <a:bodyPr wrap="square" rtlCol="0">
            <a:spAutoFit/>
          </a:bodyPr>
          <a:lstStyle/>
          <a:p>
            <a:r>
              <a:rPr lang="en-US" dirty="0">
                <a:solidFill>
                  <a:srgbClr val="0C2870"/>
                </a:solidFill>
                <a:latin typeface="Arial" charset="0"/>
                <a:cs typeface="Times New Roman" pitchFamily="18" charset="0"/>
              </a:rPr>
              <a:t>What you decide not to do is as important as what you decide to do. A good CEO is someone that is not afraid to say “no” and focus on the initiatives that will really move the needle. Human and financial resources are limited. How to allocate these resources is critical. </a:t>
            </a:r>
          </a:p>
          <a:p>
            <a:endParaRPr lang="en-US" dirty="0">
              <a:solidFill>
                <a:srgbClr val="0C2870"/>
              </a:solidFill>
              <a:latin typeface="Arial" charset="0"/>
              <a:cs typeface="Times New Roman" pitchFamily="18" charset="0"/>
            </a:endParaRPr>
          </a:p>
          <a:p>
            <a:r>
              <a:rPr lang="en-US" dirty="0">
                <a:solidFill>
                  <a:srgbClr val="0C2870"/>
                </a:solidFill>
                <a:latin typeface="Arial" charset="0"/>
                <a:cs typeface="Times New Roman" pitchFamily="18" charset="0"/>
              </a:rPr>
              <a:t>To help you allocate your resources effectively, we created an Initiative Prioritization matrix.</a:t>
            </a:r>
          </a:p>
          <a:p>
            <a:r>
              <a:rPr lang="en-US" dirty="0">
                <a:solidFill>
                  <a:srgbClr val="0C2870"/>
                </a:solidFill>
                <a:latin typeface="Arial" charset="0"/>
                <a:cs typeface="Times New Roman" pitchFamily="18" charset="0"/>
              </a:rPr>
              <a:t> </a:t>
            </a:r>
          </a:p>
          <a:p>
            <a:endParaRPr lang="en-US" dirty="0"/>
          </a:p>
        </p:txBody>
      </p:sp>
    </p:spTree>
    <p:extLst>
      <p:ext uri="{BB962C8B-B14F-4D97-AF65-F5344CB8AC3E}">
        <p14:creationId xmlns:p14="http://schemas.microsoft.com/office/powerpoint/2010/main" val="1663777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o prioritize all our potential initiatives, we created a simple matrix with 2 criteria: “Value” and “Ease of implementa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8" name="Rectangle 17">
            <a:extLst>
              <a:ext uri="{FF2B5EF4-FFF2-40B4-BE49-F238E27FC236}">
                <a16:creationId xmlns:a16="http://schemas.microsoft.com/office/drawing/2014/main" id="{A60814DE-6BB8-4E1F-9D11-286C8AE56C0F}"/>
              </a:ext>
            </a:extLst>
          </p:cNvPr>
          <p:cNvSpPr/>
          <p:nvPr/>
        </p:nvSpPr>
        <p:spPr>
          <a:xfrm>
            <a:off x="634684" y="2155165"/>
            <a:ext cx="5251417" cy="5589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kern="0" dirty="0">
                <a:solidFill>
                  <a:schemeClr val="bg1"/>
                </a:solidFill>
              </a:rPr>
              <a:t>Value</a:t>
            </a:r>
            <a:endParaRPr lang="en-AU" sz="2000" b="1" dirty="0">
              <a:solidFill>
                <a:schemeClr val="bg1"/>
              </a:solidFill>
            </a:endParaRPr>
          </a:p>
        </p:txBody>
      </p:sp>
      <p:sp>
        <p:nvSpPr>
          <p:cNvPr id="19" name="Rectangle 18">
            <a:extLst>
              <a:ext uri="{FF2B5EF4-FFF2-40B4-BE49-F238E27FC236}">
                <a16:creationId xmlns:a16="http://schemas.microsoft.com/office/drawing/2014/main" id="{1BB400A7-790A-4930-80C6-C28E59179B55}"/>
              </a:ext>
            </a:extLst>
          </p:cNvPr>
          <p:cNvSpPr/>
          <p:nvPr/>
        </p:nvSpPr>
        <p:spPr>
          <a:xfrm>
            <a:off x="6335745" y="2155165"/>
            <a:ext cx="5251417" cy="5589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kern="0" dirty="0">
                <a:solidFill>
                  <a:schemeClr val="bg1"/>
                </a:solidFill>
              </a:rPr>
              <a:t>Ease of implementation</a:t>
            </a:r>
            <a:endParaRPr lang="en-AU" sz="2000" b="1" dirty="0">
              <a:solidFill>
                <a:schemeClr val="bg1"/>
              </a:solidFill>
            </a:endParaRPr>
          </a:p>
        </p:txBody>
      </p:sp>
      <p:sp>
        <p:nvSpPr>
          <p:cNvPr id="20" name="Rectangle 19">
            <a:extLst>
              <a:ext uri="{FF2B5EF4-FFF2-40B4-BE49-F238E27FC236}">
                <a16:creationId xmlns:a16="http://schemas.microsoft.com/office/drawing/2014/main" id="{CFFF8C34-417D-49E9-8A0B-BE561DEA4E09}"/>
              </a:ext>
            </a:extLst>
          </p:cNvPr>
          <p:cNvSpPr/>
          <p:nvPr/>
        </p:nvSpPr>
        <p:spPr>
          <a:xfrm>
            <a:off x="634684" y="2725995"/>
            <a:ext cx="5251417" cy="289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b="1" dirty="0">
                <a:solidFill>
                  <a:schemeClr val="tx1"/>
                </a:solidFill>
              </a:rPr>
              <a:t>The value will be estimated by calculating the Net Present Value (NPV) of the project</a:t>
            </a:r>
            <a:endParaRPr lang="en-AU" dirty="0">
              <a:solidFill>
                <a:schemeClr val="tx1"/>
              </a:solidFill>
            </a:endParaRPr>
          </a:p>
        </p:txBody>
      </p:sp>
      <p:sp>
        <p:nvSpPr>
          <p:cNvPr id="30" name="Rectangle 29">
            <a:extLst>
              <a:ext uri="{FF2B5EF4-FFF2-40B4-BE49-F238E27FC236}">
                <a16:creationId xmlns:a16="http://schemas.microsoft.com/office/drawing/2014/main" id="{F373742D-587B-43EE-A7B2-82685317B8D6}"/>
              </a:ext>
            </a:extLst>
          </p:cNvPr>
          <p:cNvSpPr/>
          <p:nvPr/>
        </p:nvSpPr>
        <p:spPr>
          <a:xfrm>
            <a:off x="6335745" y="2725995"/>
            <a:ext cx="5251417" cy="289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b="1" dirty="0">
                <a:solidFill>
                  <a:schemeClr val="tx1"/>
                </a:solidFill>
              </a:rPr>
              <a:t>The “Ease of implementation” criteria will be assessed based on the following criteria:</a:t>
            </a:r>
          </a:p>
          <a:p>
            <a:pPr marL="169863" indent="-169863">
              <a:spcBef>
                <a:spcPts val="400"/>
              </a:spcBef>
              <a:spcAft>
                <a:spcPts val="400"/>
              </a:spcAft>
              <a:buFont typeface="Arial" panose="020B0604020202020204" pitchFamily="34" charset="0"/>
              <a:buChar char="•"/>
            </a:pPr>
            <a:r>
              <a:rPr lang="en-US" dirty="0">
                <a:solidFill>
                  <a:schemeClr val="tx1"/>
                </a:solidFill>
              </a:rPr>
              <a:t>Project duration</a:t>
            </a:r>
          </a:p>
          <a:p>
            <a:pPr marL="169863" indent="-169863">
              <a:buFont typeface="Arial" panose="020B0604020202020204" pitchFamily="34" charset="0"/>
              <a:buChar char="•"/>
            </a:pPr>
            <a:r>
              <a:rPr lang="en-AU" dirty="0">
                <a:solidFill>
                  <a:schemeClr val="tx1"/>
                </a:solidFill>
              </a:rPr>
              <a:t>Project costs</a:t>
            </a:r>
          </a:p>
          <a:p>
            <a:pPr marL="169863" indent="-169863">
              <a:buFont typeface="Arial" panose="020B0604020202020204" pitchFamily="34" charset="0"/>
              <a:buChar char="•"/>
            </a:pPr>
            <a:r>
              <a:rPr lang="en-AU" dirty="0">
                <a:solidFill>
                  <a:schemeClr val="tx1"/>
                </a:solidFill>
              </a:rPr>
              <a:t>Project risk</a:t>
            </a:r>
          </a:p>
          <a:p>
            <a:pPr marL="169863" indent="-169863">
              <a:buFont typeface="Arial" panose="020B0604020202020204" pitchFamily="34" charset="0"/>
              <a:buChar char="•"/>
            </a:pPr>
            <a:r>
              <a:rPr lang="en-GB" dirty="0">
                <a:solidFill>
                  <a:schemeClr val="tx1"/>
                </a:solidFill>
              </a:rPr>
              <a:t>Number of people required to implement the project</a:t>
            </a:r>
          </a:p>
          <a:p>
            <a:pPr marL="169863" indent="-169863">
              <a:buFont typeface="Arial" panose="020B0604020202020204" pitchFamily="34" charset="0"/>
              <a:buChar char="•"/>
            </a:pPr>
            <a:r>
              <a:rPr lang="en-GB" dirty="0">
                <a:solidFill>
                  <a:schemeClr val="tx1"/>
                </a:solidFill>
              </a:rPr>
              <a:t>Number of people heavily impacted by the change</a:t>
            </a:r>
          </a:p>
          <a:p>
            <a:pPr marL="169863" indent="-169863">
              <a:buFont typeface="Arial" panose="020B0604020202020204" pitchFamily="34" charset="0"/>
              <a:buChar char="•"/>
            </a:pPr>
            <a:endParaRPr lang="en-AU" b="1" dirty="0">
              <a:solidFill>
                <a:schemeClr val="tx1"/>
              </a:solidFill>
            </a:endParaRPr>
          </a:p>
          <a:p>
            <a:pPr marL="169863" indent="-169863">
              <a:buFont typeface="Arial" panose="020B0604020202020204" pitchFamily="34" charset="0"/>
              <a:buChar char="•"/>
            </a:pPr>
            <a:endParaRPr lang="en-AU" b="1" dirty="0">
              <a:solidFill>
                <a:schemeClr val="tx1"/>
              </a:solidFill>
            </a:endParaRPr>
          </a:p>
        </p:txBody>
      </p:sp>
    </p:spTree>
    <p:extLst>
      <p:ext uri="{BB962C8B-B14F-4D97-AF65-F5344CB8AC3E}">
        <p14:creationId xmlns:p14="http://schemas.microsoft.com/office/powerpoint/2010/main" val="26013066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he main focus should be on the initiatives that will create a high value while be relatively easy to implemen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Actively work to ease the implementation)</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2 Projects</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endParaRPr lang="en-US" sz="1400" b="1"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1 Projects</a:t>
            </a: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2 Projects</a:t>
            </a: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Tree>
    <p:extLst>
      <p:ext uri="{BB962C8B-B14F-4D97-AF65-F5344CB8AC3E}">
        <p14:creationId xmlns:p14="http://schemas.microsoft.com/office/powerpoint/2010/main" val="3176549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Step-by-step tutorial on how to use our Initiative Prioritization matrix</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4" name="Oval 3">
            <a:extLst>
              <a:ext uri="{FF2B5EF4-FFF2-40B4-BE49-F238E27FC236}">
                <a16:creationId xmlns:a16="http://schemas.microsoft.com/office/drawing/2014/main" id="{7DF479D6-885C-23D4-C779-17D7754EF609}"/>
              </a:ext>
            </a:extLst>
          </p:cNvPr>
          <p:cNvSpPr/>
          <p:nvPr/>
        </p:nvSpPr>
        <p:spPr>
          <a:xfrm>
            <a:off x="680484" y="2530023"/>
            <a:ext cx="560335" cy="542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1</a:t>
            </a:r>
          </a:p>
        </p:txBody>
      </p:sp>
      <p:sp>
        <p:nvSpPr>
          <p:cNvPr id="5" name="TextBox 4">
            <a:extLst>
              <a:ext uri="{FF2B5EF4-FFF2-40B4-BE49-F238E27FC236}">
                <a16:creationId xmlns:a16="http://schemas.microsoft.com/office/drawing/2014/main" id="{C615B0E9-66F8-2387-F45E-3D56D2C4E778}"/>
              </a:ext>
            </a:extLst>
          </p:cNvPr>
          <p:cNvSpPr txBox="1"/>
          <p:nvPr/>
        </p:nvSpPr>
        <p:spPr>
          <a:xfrm>
            <a:off x="1329065" y="2604449"/>
            <a:ext cx="9526777" cy="369332"/>
          </a:xfrm>
          <a:prstGeom prst="rect">
            <a:avLst/>
          </a:prstGeom>
          <a:noFill/>
        </p:spPr>
        <p:txBody>
          <a:bodyPr wrap="square" rtlCol="0">
            <a:spAutoFit/>
          </a:bodyPr>
          <a:lstStyle/>
          <a:p>
            <a:r>
              <a:rPr lang="en-GB" b="1" dirty="0"/>
              <a:t>Assess each potential project based on “Value” and “Ease of implementation”</a:t>
            </a:r>
            <a:endParaRPr lang="en-US" b="1" dirty="0"/>
          </a:p>
        </p:txBody>
      </p:sp>
      <p:sp>
        <p:nvSpPr>
          <p:cNvPr id="6" name="Oval 5">
            <a:extLst>
              <a:ext uri="{FF2B5EF4-FFF2-40B4-BE49-F238E27FC236}">
                <a16:creationId xmlns:a16="http://schemas.microsoft.com/office/drawing/2014/main" id="{EBA17DEA-4EA3-F763-CBC8-64F27F9BE74F}"/>
              </a:ext>
            </a:extLst>
          </p:cNvPr>
          <p:cNvSpPr/>
          <p:nvPr/>
        </p:nvSpPr>
        <p:spPr>
          <a:xfrm>
            <a:off x="680484" y="3424781"/>
            <a:ext cx="560335" cy="542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2</a:t>
            </a:r>
          </a:p>
        </p:txBody>
      </p:sp>
      <p:sp>
        <p:nvSpPr>
          <p:cNvPr id="7" name="TextBox 6">
            <a:extLst>
              <a:ext uri="{FF2B5EF4-FFF2-40B4-BE49-F238E27FC236}">
                <a16:creationId xmlns:a16="http://schemas.microsoft.com/office/drawing/2014/main" id="{E3DDD7CF-21BD-815E-E4A6-768B75C5607F}"/>
              </a:ext>
            </a:extLst>
          </p:cNvPr>
          <p:cNvSpPr txBox="1"/>
          <p:nvPr/>
        </p:nvSpPr>
        <p:spPr>
          <a:xfrm>
            <a:off x="1329065" y="3499207"/>
            <a:ext cx="9526777" cy="369332"/>
          </a:xfrm>
          <a:prstGeom prst="rect">
            <a:avLst/>
          </a:prstGeom>
          <a:noFill/>
        </p:spPr>
        <p:txBody>
          <a:bodyPr wrap="square" rtlCol="0">
            <a:spAutoFit/>
          </a:bodyPr>
          <a:lstStyle/>
          <a:p>
            <a:r>
              <a:rPr lang="en-GB" b="1" dirty="0"/>
              <a:t>Position each initiative on our prioritization matrix</a:t>
            </a:r>
            <a:endParaRPr lang="en-US" b="1" dirty="0"/>
          </a:p>
        </p:txBody>
      </p:sp>
      <p:sp>
        <p:nvSpPr>
          <p:cNvPr id="8" name="Oval 7">
            <a:extLst>
              <a:ext uri="{FF2B5EF4-FFF2-40B4-BE49-F238E27FC236}">
                <a16:creationId xmlns:a16="http://schemas.microsoft.com/office/drawing/2014/main" id="{C8EFAEA7-1B6C-A7FE-0CB9-ED1FFF220785}"/>
              </a:ext>
            </a:extLst>
          </p:cNvPr>
          <p:cNvSpPr/>
          <p:nvPr/>
        </p:nvSpPr>
        <p:spPr>
          <a:xfrm>
            <a:off x="680484" y="4330969"/>
            <a:ext cx="560335" cy="542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3</a:t>
            </a:r>
          </a:p>
        </p:txBody>
      </p:sp>
      <p:sp>
        <p:nvSpPr>
          <p:cNvPr id="9" name="TextBox 8">
            <a:extLst>
              <a:ext uri="{FF2B5EF4-FFF2-40B4-BE49-F238E27FC236}">
                <a16:creationId xmlns:a16="http://schemas.microsoft.com/office/drawing/2014/main" id="{311ECF8F-EBE4-FF5E-471E-9CB0C40F5597}"/>
              </a:ext>
            </a:extLst>
          </p:cNvPr>
          <p:cNvSpPr txBox="1"/>
          <p:nvPr/>
        </p:nvSpPr>
        <p:spPr>
          <a:xfrm>
            <a:off x="1329065" y="4405395"/>
            <a:ext cx="9526777" cy="369332"/>
          </a:xfrm>
          <a:prstGeom prst="rect">
            <a:avLst/>
          </a:prstGeom>
          <a:noFill/>
        </p:spPr>
        <p:txBody>
          <a:bodyPr wrap="square" rtlCol="0">
            <a:spAutoFit/>
          </a:bodyPr>
          <a:lstStyle/>
          <a:p>
            <a:r>
              <a:rPr lang="en-GB" b="1" dirty="0"/>
              <a:t>Focus on the priority 1 and priority 2 initiatives located in the green area</a:t>
            </a:r>
            <a:endParaRPr lang="en-US" b="1" dirty="0"/>
          </a:p>
        </p:txBody>
      </p:sp>
    </p:spTree>
    <p:extLst>
      <p:ext uri="{BB962C8B-B14F-4D97-AF65-F5344CB8AC3E}">
        <p14:creationId xmlns:p14="http://schemas.microsoft.com/office/powerpoint/2010/main" val="1909642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1: Assess each potential project based on </a:t>
            </a:r>
            <a:r>
              <a:rPr lang="en-GB" sz="2400" kern="0" dirty="0">
                <a:solidFill>
                  <a:schemeClr val="tx1"/>
                </a:solidFill>
              </a:rPr>
              <a:t>“Value” and “Ease of implementation”</a:t>
            </a:r>
            <a:endParaRPr lang="en-US" sz="2400" kern="0" dirty="0">
              <a:solidFill>
                <a:schemeClr val="tx1"/>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graphicFrame>
        <p:nvGraphicFramePr>
          <p:cNvPr id="14" name="Table 13">
            <a:extLst>
              <a:ext uri="{FF2B5EF4-FFF2-40B4-BE49-F238E27FC236}">
                <a16:creationId xmlns:a16="http://schemas.microsoft.com/office/drawing/2014/main" id="{7E708B5A-555F-490D-9793-08763662241C}"/>
              </a:ext>
            </a:extLst>
          </p:cNvPr>
          <p:cNvGraphicFramePr>
            <a:graphicFrameLocks noGrp="1"/>
          </p:cNvGraphicFramePr>
          <p:nvPr/>
        </p:nvGraphicFramePr>
        <p:xfrm>
          <a:off x="609599" y="1605048"/>
          <a:ext cx="10977563" cy="4877437"/>
        </p:xfrm>
        <a:graphic>
          <a:graphicData uri="http://schemas.openxmlformats.org/drawingml/2006/table">
            <a:tbl>
              <a:tblPr firstRow="1" bandRow="1">
                <a:tableStyleId>{5C22544A-7EE6-4342-B048-85BDC9FD1C3A}</a:tableStyleId>
              </a:tblPr>
              <a:tblGrid>
                <a:gridCol w="4888231">
                  <a:extLst>
                    <a:ext uri="{9D8B030D-6E8A-4147-A177-3AD203B41FA5}">
                      <a16:colId xmlns:a16="http://schemas.microsoft.com/office/drawing/2014/main" val="2812679770"/>
                    </a:ext>
                  </a:extLst>
                </a:gridCol>
                <a:gridCol w="2971800">
                  <a:extLst>
                    <a:ext uri="{9D8B030D-6E8A-4147-A177-3AD203B41FA5}">
                      <a16:colId xmlns:a16="http://schemas.microsoft.com/office/drawing/2014/main" val="2852264056"/>
                    </a:ext>
                  </a:extLst>
                </a:gridCol>
                <a:gridCol w="3117532">
                  <a:extLst>
                    <a:ext uri="{9D8B030D-6E8A-4147-A177-3AD203B41FA5}">
                      <a16:colId xmlns:a16="http://schemas.microsoft.com/office/drawing/2014/main" val="937810905"/>
                    </a:ext>
                  </a:extLst>
                </a:gridCol>
              </a:tblGrid>
              <a:tr h="346141">
                <a:tc>
                  <a:txBody>
                    <a:bodyPr/>
                    <a:lstStyle/>
                    <a:p>
                      <a:pPr algn="ctr"/>
                      <a:r>
                        <a:rPr lang="en-US" sz="1400" dirty="0">
                          <a:solidFill>
                            <a:schemeClr val="bg1"/>
                          </a:solidFill>
                        </a:rPr>
                        <a:t>Initiative name</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Valu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Ease of implementation</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Medium</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Difficult</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Intermedi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Easy</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Medium</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Easy</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US" sz="1200" dirty="0">
                          <a:solidFill>
                            <a:schemeClr val="tx2"/>
                          </a:solidFill>
                        </a:rPr>
                        <a:t>Not rated as not strategically aligned</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dirty="0">
                          <a:solidFill>
                            <a:schemeClr val="tx2"/>
                          </a:solidFill>
                        </a:rPr>
                        <a:t>Not rated as not strategically aligned</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r h="283206">
                <a:tc>
                  <a:txBody>
                    <a:bodyPr/>
                    <a:lstStyle/>
                    <a:p>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5657696"/>
                  </a:ext>
                </a:extLst>
              </a:tr>
              <a:tr h="28320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991965"/>
                  </a:ext>
                </a:extLst>
              </a:tr>
              <a:tr h="283206">
                <a:tc>
                  <a:txBody>
                    <a:bodyPr/>
                    <a:lstStyle/>
                    <a:p>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13508749"/>
                  </a:ext>
                </a:extLst>
              </a:tr>
              <a:tr h="28320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2719308"/>
                  </a:ext>
                </a:extLst>
              </a:tr>
              <a:tr h="283206">
                <a:tc>
                  <a:txBody>
                    <a:bodyPr/>
                    <a:lstStyle/>
                    <a:p>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12650204"/>
                  </a:ext>
                </a:extLst>
              </a:tr>
              <a:tr h="28320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42013700"/>
                  </a:ext>
                </a:extLst>
              </a:tr>
              <a:tr h="283206">
                <a:tc>
                  <a:txBody>
                    <a:bodyPr/>
                    <a:lstStyle/>
                    <a:p>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682238"/>
                  </a:ext>
                </a:extLst>
              </a:tr>
              <a:tr h="28320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solidFill>
                            <a:schemeClr val="tx2"/>
                          </a:solidFill>
                        </a:rPr>
                        <a:t>Insert the name of the potential initiativ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227702"/>
                  </a:ext>
                </a:extLst>
              </a:tr>
            </a:tbl>
          </a:graphicData>
        </a:graphic>
      </p:graphicFrame>
    </p:spTree>
    <p:extLst>
      <p:ext uri="{BB962C8B-B14F-4D97-AF65-F5344CB8AC3E}">
        <p14:creationId xmlns:p14="http://schemas.microsoft.com/office/powerpoint/2010/main" val="9704988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2: Position each initiative on our prioritization matrix</a:t>
            </a:r>
            <a:endParaRPr lang="en-GB" sz="2400" b="0" kern="0" dirty="0">
              <a:solidFill>
                <a:schemeClr val="tx1"/>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2" name="Rectangle 39">
            <a:extLst>
              <a:ext uri="{FF2B5EF4-FFF2-40B4-BE49-F238E27FC236}">
                <a16:creationId xmlns:a16="http://schemas.microsoft.com/office/drawing/2014/main" id="{734A4837-E291-28BB-6743-29C9DEECF0BB}"/>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 name="Rectangle 40">
            <a:extLst>
              <a:ext uri="{FF2B5EF4-FFF2-40B4-BE49-F238E27FC236}">
                <a16:creationId xmlns:a16="http://schemas.microsoft.com/office/drawing/2014/main" id="{7D279900-E5DA-214F-D00F-F162FD39546A}"/>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5" name="Rectangle 38">
            <a:extLst>
              <a:ext uri="{FF2B5EF4-FFF2-40B4-BE49-F238E27FC236}">
                <a16:creationId xmlns:a16="http://schemas.microsoft.com/office/drawing/2014/main" id="{19D30D1C-4259-5E12-8F98-0A3CF94BAEB3}"/>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6" name="Rectangle 38">
            <a:extLst>
              <a:ext uri="{FF2B5EF4-FFF2-40B4-BE49-F238E27FC236}">
                <a16:creationId xmlns:a16="http://schemas.microsoft.com/office/drawing/2014/main" id="{33B68DD9-854C-9076-3DFC-99C4DEE2EB8C}"/>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7" name="Rectangle 38">
            <a:extLst>
              <a:ext uri="{FF2B5EF4-FFF2-40B4-BE49-F238E27FC236}">
                <a16:creationId xmlns:a16="http://schemas.microsoft.com/office/drawing/2014/main" id="{AFCA810C-3A3F-3F97-49DD-585A4F61D9D9}"/>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8" name="Rectangle 38">
            <a:extLst>
              <a:ext uri="{FF2B5EF4-FFF2-40B4-BE49-F238E27FC236}">
                <a16:creationId xmlns:a16="http://schemas.microsoft.com/office/drawing/2014/main" id="{62CCCC60-6AED-9209-AFB6-4D180748E151}"/>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9" name="Rectangle 8">
            <a:extLst>
              <a:ext uri="{FF2B5EF4-FFF2-40B4-BE49-F238E27FC236}">
                <a16:creationId xmlns:a16="http://schemas.microsoft.com/office/drawing/2014/main" id="{9CA01B70-A8C8-17E0-C5F1-A56404DF4254}"/>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0" name="Rectangle 9">
            <a:extLst>
              <a:ext uri="{FF2B5EF4-FFF2-40B4-BE49-F238E27FC236}">
                <a16:creationId xmlns:a16="http://schemas.microsoft.com/office/drawing/2014/main" id="{61EA4B2F-6FF7-91BC-C7C9-8B7A0750BDFC}"/>
              </a:ext>
            </a:extLst>
          </p:cNvPr>
          <p:cNvSpPr/>
          <p:nvPr/>
        </p:nvSpPr>
        <p:spPr bwMode="auto">
          <a:xfrm>
            <a:off x="5012956" y="2062962"/>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1" name="Rectangle 10">
            <a:extLst>
              <a:ext uri="{FF2B5EF4-FFF2-40B4-BE49-F238E27FC236}">
                <a16:creationId xmlns:a16="http://schemas.microsoft.com/office/drawing/2014/main" id="{E0A236C0-E8B5-43FA-663E-AD17307AD5E5}"/>
              </a:ext>
            </a:extLst>
          </p:cNvPr>
          <p:cNvSpPr/>
          <p:nvPr/>
        </p:nvSpPr>
        <p:spPr bwMode="auto">
          <a:xfrm>
            <a:off x="2140601" y="3360137"/>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2" name="Rectangle 11">
            <a:extLst>
              <a:ext uri="{FF2B5EF4-FFF2-40B4-BE49-F238E27FC236}">
                <a16:creationId xmlns:a16="http://schemas.microsoft.com/office/drawing/2014/main" id="{BF6E4231-A306-667D-283E-F4170446BAC2}"/>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4" name="Rectangle 13">
            <a:extLst>
              <a:ext uri="{FF2B5EF4-FFF2-40B4-BE49-F238E27FC236}">
                <a16:creationId xmlns:a16="http://schemas.microsoft.com/office/drawing/2014/main" id="{78E70931-E809-4781-A1FA-7680B4D2621E}"/>
              </a:ext>
            </a:extLst>
          </p:cNvPr>
          <p:cNvSpPr/>
          <p:nvPr/>
        </p:nvSpPr>
        <p:spPr bwMode="auto">
          <a:xfrm>
            <a:off x="2140601" y="4646772"/>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5" name="Rectangle 14">
            <a:extLst>
              <a:ext uri="{FF2B5EF4-FFF2-40B4-BE49-F238E27FC236}">
                <a16:creationId xmlns:a16="http://schemas.microsoft.com/office/drawing/2014/main" id="{1C0295FC-84E1-B824-7EFA-1AC18C8C713A}"/>
              </a:ext>
            </a:extLst>
          </p:cNvPr>
          <p:cNvSpPr/>
          <p:nvPr/>
        </p:nvSpPr>
        <p:spPr bwMode="auto">
          <a:xfrm>
            <a:off x="5012956" y="4646770"/>
            <a:ext cx="2880847" cy="1297293"/>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7" name="Rectangle 16">
            <a:extLst>
              <a:ext uri="{FF2B5EF4-FFF2-40B4-BE49-F238E27FC236}">
                <a16:creationId xmlns:a16="http://schemas.microsoft.com/office/drawing/2014/main" id="{12F6403E-1D17-0C26-091D-A8DEE4C3AA6C}"/>
              </a:ext>
            </a:extLst>
          </p:cNvPr>
          <p:cNvSpPr/>
          <p:nvPr/>
        </p:nvSpPr>
        <p:spPr bwMode="auto">
          <a:xfrm>
            <a:off x="7901522" y="2062962"/>
            <a:ext cx="2880847" cy="1297292"/>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29" name="Rectangle 28">
            <a:extLst>
              <a:ext uri="{FF2B5EF4-FFF2-40B4-BE49-F238E27FC236}">
                <a16:creationId xmlns:a16="http://schemas.microsoft.com/office/drawing/2014/main" id="{BC203A5E-3B13-F3E2-ACE9-54D15F474F80}"/>
              </a:ext>
            </a:extLst>
          </p:cNvPr>
          <p:cNvSpPr/>
          <p:nvPr/>
        </p:nvSpPr>
        <p:spPr bwMode="auto">
          <a:xfrm>
            <a:off x="7901522" y="3360137"/>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30" name="Rectangle 29">
            <a:extLst>
              <a:ext uri="{FF2B5EF4-FFF2-40B4-BE49-F238E27FC236}">
                <a16:creationId xmlns:a16="http://schemas.microsoft.com/office/drawing/2014/main" id="{B246B156-B3B1-20C8-F7A5-E72BBE60079B}"/>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31" name="Rectangle 38">
            <a:extLst>
              <a:ext uri="{FF2B5EF4-FFF2-40B4-BE49-F238E27FC236}">
                <a16:creationId xmlns:a16="http://schemas.microsoft.com/office/drawing/2014/main" id="{6DC7F47C-C777-D3A4-C0DF-C9A32731AC73}"/>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32" name="Rectangle 38">
            <a:extLst>
              <a:ext uri="{FF2B5EF4-FFF2-40B4-BE49-F238E27FC236}">
                <a16:creationId xmlns:a16="http://schemas.microsoft.com/office/drawing/2014/main" id="{45BB72A6-3A6E-40E2-A1C7-77A965B2F527}"/>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33" name="Rectangle 38">
            <a:extLst>
              <a:ext uri="{FF2B5EF4-FFF2-40B4-BE49-F238E27FC236}">
                <a16:creationId xmlns:a16="http://schemas.microsoft.com/office/drawing/2014/main" id="{05818108-FEC2-6C8B-3D92-6618B40FA79A}"/>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Tree>
    <p:extLst>
      <p:ext uri="{BB962C8B-B14F-4D97-AF65-F5344CB8AC3E}">
        <p14:creationId xmlns:p14="http://schemas.microsoft.com/office/powerpoint/2010/main" val="803861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3: Focus on the priority 1 and priority 2 initiatives located in the green area</a:t>
            </a:r>
            <a:endParaRPr lang="en-GB" sz="2400" b="0" kern="0" dirty="0">
              <a:solidFill>
                <a:schemeClr val="tx1"/>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 name="Rectangle 39">
            <a:extLst>
              <a:ext uri="{FF2B5EF4-FFF2-40B4-BE49-F238E27FC236}">
                <a16:creationId xmlns:a16="http://schemas.microsoft.com/office/drawing/2014/main" id="{AD29704B-3CF2-8508-143F-060C728509F2}"/>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 name="Rectangle 40">
            <a:extLst>
              <a:ext uri="{FF2B5EF4-FFF2-40B4-BE49-F238E27FC236}">
                <a16:creationId xmlns:a16="http://schemas.microsoft.com/office/drawing/2014/main" id="{09A482E3-855F-F38D-D101-5580CFA20CEB}"/>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5" name="Rectangle 38">
            <a:extLst>
              <a:ext uri="{FF2B5EF4-FFF2-40B4-BE49-F238E27FC236}">
                <a16:creationId xmlns:a16="http://schemas.microsoft.com/office/drawing/2014/main" id="{00414168-F5E4-B67F-8A64-D6E38F7EA199}"/>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6" name="Rectangle 38">
            <a:extLst>
              <a:ext uri="{FF2B5EF4-FFF2-40B4-BE49-F238E27FC236}">
                <a16:creationId xmlns:a16="http://schemas.microsoft.com/office/drawing/2014/main" id="{A2BCF3EF-69F4-9C81-9CA9-15D3D304AC1E}"/>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7" name="Rectangle 38">
            <a:extLst>
              <a:ext uri="{FF2B5EF4-FFF2-40B4-BE49-F238E27FC236}">
                <a16:creationId xmlns:a16="http://schemas.microsoft.com/office/drawing/2014/main" id="{25D62696-6359-4C4E-2C9E-BBDC935D0D07}"/>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8" name="Rectangle 38">
            <a:extLst>
              <a:ext uri="{FF2B5EF4-FFF2-40B4-BE49-F238E27FC236}">
                <a16:creationId xmlns:a16="http://schemas.microsoft.com/office/drawing/2014/main" id="{95725348-7825-2B75-F92B-1BD9D5451AC3}"/>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9" name="Rectangle 8">
            <a:extLst>
              <a:ext uri="{FF2B5EF4-FFF2-40B4-BE49-F238E27FC236}">
                <a16:creationId xmlns:a16="http://schemas.microsoft.com/office/drawing/2014/main" id="{C77BC5E4-2F65-15E3-C813-C1BA87C705B7}"/>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0" name="Rectangle 9">
            <a:extLst>
              <a:ext uri="{FF2B5EF4-FFF2-40B4-BE49-F238E27FC236}">
                <a16:creationId xmlns:a16="http://schemas.microsoft.com/office/drawing/2014/main" id="{CEBF4438-F9E0-D898-CAD5-CE81548F2AC2}"/>
              </a:ext>
            </a:extLst>
          </p:cNvPr>
          <p:cNvSpPr/>
          <p:nvPr/>
        </p:nvSpPr>
        <p:spPr bwMode="auto">
          <a:xfrm>
            <a:off x="5012956" y="2062962"/>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1" name="Rectangle 10">
            <a:extLst>
              <a:ext uri="{FF2B5EF4-FFF2-40B4-BE49-F238E27FC236}">
                <a16:creationId xmlns:a16="http://schemas.microsoft.com/office/drawing/2014/main" id="{B27E1B17-1668-D5B2-60CE-867BAFDCB264}"/>
              </a:ext>
            </a:extLst>
          </p:cNvPr>
          <p:cNvSpPr/>
          <p:nvPr/>
        </p:nvSpPr>
        <p:spPr bwMode="auto">
          <a:xfrm>
            <a:off x="2140601" y="3360137"/>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2" name="Rectangle 11">
            <a:extLst>
              <a:ext uri="{FF2B5EF4-FFF2-40B4-BE49-F238E27FC236}">
                <a16:creationId xmlns:a16="http://schemas.microsoft.com/office/drawing/2014/main" id="{52E124FB-3151-9348-509A-8B54150D4F57}"/>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4" name="Rectangle 13">
            <a:extLst>
              <a:ext uri="{FF2B5EF4-FFF2-40B4-BE49-F238E27FC236}">
                <a16:creationId xmlns:a16="http://schemas.microsoft.com/office/drawing/2014/main" id="{2AB3B51C-9B46-EA07-9886-F0802134895F}"/>
              </a:ext>
            </a:extLst>
          </p:cNvPr>
          <p:cNvSpPr/>
          <p:nvPr/>
        </p:nvSpPr>
        <p:spPr bwMode="auto">
          <a:xfrm>
            <a:off x="2140601" y="4646772"/>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15" name="Rectangle 14">
            <a:extLst>
              <a:ext uri="{FF2B5EF4-FFF2-40B4-BE49-F238E27FC236}">
                <a16:creationId xmlns:a16="http://schemas.microsoft.com/office/drawing/2014/main" id="{52067F45-39F8-7817-E88D-05BC80D940A9}"/>
              </a:ext>
            </a:extLst>
          </p:cNvPr>
          <p:cNvSpPr/>
          <p:nvPr/>
        </p:nvSpPr>
        <p:spPr bwMode="auto">
          <a:xfrm>
            <a:off x="5012956" y="4646770"/>
            <a:ext cx="2880847" cy="1297293"/>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24" name="Rectangle 23">
            <a:extLst>
              <a:ext uri="{FF2B5EF4-FFF2-40B4-BE49-F238E27FC236}">
                <a16:creationId xmlns:a16="http://schemas.microsoft.com/office/drawing/2014/main" id="{67E95E59-06D4-76BE-D9B2-607481850750}"/>
              </a:ext>
            </a:extLst>
          </p:cNvPr>
          <p:cNvSpPr/>
          <p:nvPr/>
        </p:nvSpPr>
        <p:spPr bwMode="auto">
          <a:xfrm>
            <a:off x="7901522" y="2062962"/>
            <a:ext cx="2880847" cy="1297292"/>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25" name="Rectangle 24">
            <a:extLst>
              <a:ext uri="{FF2B5EF4-FFF2-40B4-BE49-F238E27FC236}">
                <a16:creationId xmlns:a16="http://schemas.microsoft.com/office/drawing/2014/main" id="{2EEBCF49-D792-F591-5047-A01AD6ADDB50}"/>
              </a:ext>
            </a:extLst>
          </p:cNvPr>
          <p:cNvSpPr/>
          <p:nvPr/>
        </p:nvSpPr>
        <p:spPr bwMode="auto">
          <a:xfrm>
            <a:off x="7901522" y="3360137"/>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26" name="Rectangle 25">
            <a:extLst>
              <a:ext uri="{FF2B5EF4-FFF2-40B4-BE49-F238E27FC236}">
                <a16:creationId xmlns:a16="http://schemas.microsoft.com/office/drawing/2014/main" id="{1FCCFD79-F332-60DB-3537-7CF33632AE8E}"/>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050" dirty="0">
                <a:cs typeface="Times New Roman" pitchFamily="18" charset="0"/>
              </a:rPr>
              <a:t>Insert the name of your initiative</a:t>
            </a:r>
          </a:p>
        </p:txBody>
      </p:sp>
      <p:sp>
        <p:nvSpPr>
          <p:cNvPr id="27" name="Rectangle 38">
            <a:extLst>
              <a:ext uri="{FF2B5EF4-FFF2-40B4-BE49-F238E27FC236}">
                <a16:creationId xmlns:a16="http://schemas.microsoft.com/office/drawing/2014/main" id="{A37B4A84-1918-6D7E-F5AB-0FD46E72715A}"/>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32" name="Rectangle 38">
            <a:extLst>
              <a:ext uri="{FF2B5EF4-FFF2-40B4-BE49-F238E27FC236}">
                <a16:creationId xmlns:a16="http://schemas.microsoft.com/office/drawing/2014/main" id="{52C26E70-DFCB-36FB-48D5-B47CFD43578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33" name="Rectangle 38">
            <a:extLst>
              <a:ext uri="{FF2B5EF4-FFF2-40B4-BE49-F238E27FC236}">
                <a16:creationId xmlns:a16="http://schemas.microsoft.com/office/drawing/2014/main" id="{858B614E-15DC-5D16-6190-9B3395278987}"/>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17" name="Rectangle 16">
            <a:extLst>
              <a:ext uri="{FF2B5EF4-FFF2-40B4-BE49-F238E27FC236}">
                <a16:creationId xmlns:a16="http://schemas.microsoft.com/office/drawing/2014/main" id="{E83B30E5-CEA1-3E0E-F505-BB2C73C4A1B6}"/>
              </a:ext>
            </a:extLst>
          </p:cNvPr>
          <p:cNvSpPr/>
          <p:nvPr/>
        </p:nvSpPr>
        <p:spPr bwMode="auto">
          <a:xfrm>
            <a:off x="7943383" y="1009320"/>
            <a:ext cx="909462" cy="414020"/>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effectLst/>
                <a:uLnTx/>
                <a:uFillTx/>
                <a:cs typeface="Times New Roman" pitchFamily="18" charset="0"/>
              </a:rPr>
              <a:t>Priority 1 Projects</a:t>
            </a:r>
          </a:p>
        </p:txBody>
      </p:sp>
      <p:sp>
        <p:nvSpPr>
          <p:cNvPr id="18" name="TextBox 17">
            <a:extLst>
              <a:ext uri="{FF2B5EF4-FFF2-40B4-BE49-F238E27FC236}">
                <a16:creationId xmlns:a16="http://schemas.microsoft.com/office/drawing/2014/main" id="{C82BA519-AFF3-CB0A-9D10-3D607D456474}"/>
              </a:ext>
            </a:extLst>
          </p:cNvPr>
          <p:cNvSpPr txBox="1"/>
          <p:nvPr/>
        </p:nvSpPr>
        <p:spPr>
          <a:xfrm>
            <a:off x="7023445" y="1051310"/>
            <a:ext cx="936000" cy="307777"/>
          </a:xfrm>
          <a:prstGeom prst="rect">
            <a:avLst/>
          </a:prstGeom>
          <a:noFill/>
        </p:spPr>
        <p:txBody>
          <a:bodyPr wrap="square" rtlCol="0">
            <a:spAutoFit/>
          </a:bodyPr>
          <a:lstStyle/>
          <a:p>
            <a:r>
              <a:rPr lang="en-US" sz="1400" b="1" dirty="0">
                <a:solidFill>
                  <a:schemeClr val="bg2"/>
                </a:solidFill>
              </a:rPr>
              <a:t>Caption:</a:t>
            </a:r>
          </a:p>
        </p:txBody>
      </p:sp>
      <p:sp>
        <p:nvSpPr>
          <p:cNvPr id="19" name="Rectangle 18">
            <a:extLst>
              <a:ext uri="{FF2B5EF4-FFF2-40B4-BE49-F238E27FC236}">
                <a16:creationId xmlns:a16="http://schemas.microsoft.com/office/drawing/2014/main" id="{3EB86040-40D7-AE3D-5AF4-C5BBBDD30594}"/>
              </a:ext>
            </a:extLst>
          </p:cNvPr>
          <p:cNvSpPr/>
          <p:nvPr/>
        </p:nvSpPr>
        <p:spPr bwMode="auto">
          <a:xfrm>
            <a:off x="8950552" y="1009320"/>
            <a:ext cx="909462" cy="414020"/>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defRPr/>
            </a:pPr>
            <a:r>
              <a:rPr lang="en-US" sz="1000" b="1" kern="0" dirty="0">
                <a:cs typeface="Times New Roman" pitchFamily="18" charset="0"/>
              </a:rPr>
              <a:t>Priority 2 Projects</a:t>
            </a:r>
          </a:p>
        </p:txBody>
      </p:sp>
      <p:sp>
        <p:nvSpPr>
          <p:cNvPr id="20" name="Rectangle 19">
            <a:extLst>
              <a:ext uri="{FF2B5EF4-FFF2-40B4-BE49-F238E27FC236}">
                <a16:creationId xmlns:a16="http://schemas.microsoft.com/office/drawing/2014/main" id="{033F0AD4-4A36-BFF6-4B3D-BE107EFAD23E}"/>
              </a:ext>
            </a:extLst>
          </p:cNvPr>
          <p:cNvSpPr/>
          <p:nvPr/>
        </p:nvSpPr>
        <p:spPr bwMode="auto">
          <a:xfrm>
            <a:off x="9957721" y="1009320"/>
            <a:ext cx="909462" cy="414020"/>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rgbClr val="002060"/>
                </a:solidFill>
                <a:effectLst/>
                <a:uLnTx/>
                <a:uFillTx/>
                <a:latin typeface="Arial" panose="020B0604020202020204"/>
                <a:ea typeface="+mn-ea"/>
                <a:cs typeface="Times New Roman" pitchFamily="18" charset="0"/>
              </a:rPr>
              <a:t>Priority 3 Projects</a:t>
            </a:r>
          </a:p>
        </p:txBody>
      </p:sp>
      <p:sp>
        <p:nvSpPr>
          <p:cNvPr id="21" name="Rectangle 20">
            <a:extLst>
              <a:ext uri="{FF2B5EF4-FFF2-40B4-BE49-F238E27FC236}">
                <a16:creationId xmlns:a16="http://schemas.microsoft.com/office/drawing/2014/main" id="{EAA9DAA8-E004-8CD7-0CC8-45635D08929F}"/>
              </a:ext>
            </a:extLst>
          </p:cNvPr>
          <p:cNvSpPr/>
          <p:nvPr/>
        </p:nvSpPr>
        <p:spPr bwMode="auto">
          <a:xfrm>
            <a:off x="10964889" y="1009320"/>
            <a:ext cx="909462" cy="414020"/>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36000" tIns="45715" rIns="36000"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rgbClr val="002060"/>
                </a:solidFill>
                <a:effectLst/>
                <a:uLnTx/>
                <a:uFillTx/>
                <a:latin typeface="Arial" panose="020B0604020202020204"/>
                <a:ea typeface="+mn-ea"/>
                <a:cs typeface="Times New Roman" pitchFamily="18" charset="0"/>
              </a:rPr>
              <a:t>Unattractive Projects</a:t>
            </a:r>
          </a:p>
        </p:txBody>
      </p:sp>
    </p:spTree>
    <p:extLst>
      <p:ext uri="{BB962C8B-B14F-4D97-AF65-F5344CB8AC3E}">
        <p14:creationId xmlns:p14="http://schemas.microsoft.com/office/powerpoint/2010/main" val="9925898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 Matrix</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Project X</a:t>
            </a: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2" name="Rectangle: Rounded Corners 1">
            <a:extLst>
              <a:ext uri="{FF2B5EF4-FFF2-40B4-BE49-F238E27FC236}">
                <a16:creationId xmlns:a16="http://schemas.microsoft.com/office/drawing/2014/main" id="{8051FEB1-D4F0-1475-4FB9-4AC9989FB0C7}"/>
              </a:ext>
            </a:extLst>
          </p:cNvPr>
          <p:cNvSpPr/>
          <p:nvPr/>
        </p:nvSpPr>
        <p:spPr>
          <a:xfrm>
            <a:off x="10228521" y="365125"/>
            <a:ext cx="1608683" cy="411252"/>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
        <p:nvSpPr>
          <p:cNvPr id="15" name="Rectangle 14">
            <a:extLst>
              <a:ext uri="{FF2B5EF4-FFF2-40B4-BE49-F238E27FC236}">
                <a16:creationId xmlns:a16="http://schemas.microsoft.com/office/drawing/2014/main" id="{B40BD74F-CE9F-06B0-BA46-344A18E9D8EA}"/>
              </a:ext>
            </a:extLst>
          </p:cNvPr>
          <p:cNvSpPr/>
          <p:nvPr/>
        </p:nvSpPr>
        <p:spPr bwMode="auto">
          <a:xfrm>
            <a:off x="7943383" y="1009320"/>
            <a:ext cx="909462" cy="414020"/>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effectLst/>
                <a:uLnTx/>
                <a:uFillTx/>
                <a:cs typeface="Times New Roman" pitchFamily="18" charset="0"/>
              </a:rPr>
              <a:t>Priority 1 Projects</a:t>
            </a:r>
          </a:p>
        </p:txBody>
      </p:sp>
      <p:sp>
        <p:nvSpPr>
          <p:cNvPr id="17" name="TextBox 16">
            <a:extLst>
              <a:ext uri="{FF2B5EF4-FFF2-40B4-BE49-F238E27FC236}">
                <a16:creationId xmlns:a16="http://schemas.microsoft.com/office/drawing/2014/main" id="{F65B50D1-8DAE-5671-D854-87B0FF2F9F46}"/>
              </a:ext>
            </a:extLst>
          </p:cNvPr>
          <p:cNvSpPr txBox="1"/>
          <p:nvPr/>
        </p:nvSpPr>
        <p:spPr>
          <a:xfrm>
            <a:off x="7023445" y="1051310"/>
            <a:ext cx="936000" cy="307777"/>
          </a:xfrm>
          <a:prstGeom prst="rect">
            <a:avLst/>
          </a:prstGeom>
          <a:noFill/>
        </p:spPr>
        <p:txBody>
          <a:bodyPr wrap="square" rtlCol="0">
            <a:spAutoFit/>
          </a:bodyPr>
          <a:lstStyle/>
          <a:p>
            <a:r>
              <a:rPr lang="en-US" sz="1400" b="1" dirty="0">
                <a:solidFill>
                  <a:schemeClr val="bg2"/>
                </a:solidFill>
              </a:rPr>
              <a:t>Caption:</a:t>
            </a:r>
          </a:p>
        </p:txBody>
      </p:sp>
      <p:sp>
        <p:nvSpPr>
          <p:cNvPr id="18" name="Rectangle 17">
            <a:extLst>
              <a:ext uri="{FF2B5EF4-FFF2-40B4-BE49-F238E27FC236}">
                <a16:creationId xmlns:a16="http://schemas.microsoft.com/office/drawing/2014/main" id="{15884FE4-C297-D341-D681-CC950E5D8A51}"/>
              </a:ext>
            </a:extLst>
          </p:cNvPr>
          <p:cNvSpPr/>
          <p:nvPr/>
        </p:nvSpPr>
        <p:spPr bwMode="auto">
          <a:xfrm>
            <a:off x="8950552" y="1009320"/>
            <a:ext cx="909462" cy="414020"/>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defRPr/>
            </a:pPr>
            <a:r>
              <a:rPr lang="en-US" sz="1000" b="1" kern="0" dirty="0">
                <a:cs typeface="Times New Roman" pitchFamily="18" charset="0"/>
              </a:rPr>
              <a:t>Priority 2 Projects</a:t>
            </a:r>
          </a:p>
        </p:txBody>
      </p:sp>
      <p:sp>
        <p:nvSpPr>
          <p:cNvPr id="19" name="Rectangle 18">
            <a:extLst>
              <a:ext uri="{FF2B5EF4-FFF2-40B4-BE49-F238E27FC236}">
                <a16:creationId xmlns:a16="http://schemas.microsoft.com/office/drawing/2014/main" id="{C0D4FCF5-EC36-4EEE-4BC3-8AD39CFF90A7}"/>
              </a:ext>
            </a:extLst>
          </p:cNvPr>
          <p:cNvSpPr/>
          <p:nvPr/>
        </p:nvSpPr>
        <p:spPr bwMode="auto">
          <a:xfrm>
            <a:off x="9957721" y="1009320"/>
            <a:ext cx="909462" cy="414020"/>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rgbClr val="002060"/>
                </a:solidFill>
                <a:effectLst/>
                <a:uLnTx/>
                <a:uFillTx/>
                <a:latin typeface="Arial" panose="020B0604020202020204"/>
                <a:ea typeface="+mn-ea"/>
                <a:cs typeface="Times New Roman" pitchFamily="18" charset="0"/>
              </a:rPr>
              <a:t>Priority 3 Projects</a:t>
            </a:r>
          </a:p>
        </p:txBody>
      </p:sp>
      <p:sp>
        <p:nvSpPr>
          <p:cNvPr id="20" name="Rectangle 19">
            <a:extLst>
              <a:ext uri="{FF2B5EF4-FFF2-40B4-BE49-F238E27FC236}">
                <a16:creationId xmlns:a16="http://schemas.microsoft.com/office/drawing/2014/main" id="{06700B5C-5E66-A35C-1B1C-D48F0C01473D}"/>
              </a:ext>
            </a:extLst>
          </p:cNvPr>
          <p:cNvSpPr/>
          <p:nvPr/>
        </p:nvSpPr>
        <p:spPr bwMode="auto">
          <a:xfrm>
            <a:off x="10964889" y="1009320"/>
            <a:ext cx="909462" cy="414020"/>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36000" tIns="45715" rIns="36000"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rgbClr val="002060"/>
                </a:solidFill>
                <a:effectLst/>
                <a:uLnTx/>
                <a:uFillTx/>
                <a:latin typeface="Arial" panose="020B0604020202020204"/>
                <a:ea typeface="+mn-ea"/>
                <a:cs typeface="Times New Roman" pitchFamily="18" charset="0"/>
              </a:rPr>
              <a:t>Unattractive Projects</a:t>
            </a:r>
          </a:p>
        </p:txBody>
      </p:sp>
    </p:spTree>
    <p:extLst>
      <p:ext uri="{BB962C8B-B14F-4D97-AF65-F5344CB8AC3E}">
        <p14:creationId xmlns:p14="http://schemas.microsoft.com/office/powerpoint/2010/main" val="4286225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1B3whRzF.kF3DXO1apkEoQ"/>
</p:tagLst>
</file>

<file path=ppt/tags/tag2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3.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47</TotalTime>
  <Words>1538</Words>
  <Application>Microsoft Office PowerPoint</Application>
  <PresentationFormat>Widescreen</PresentationFormat>
  <Paragraphs>344</Paragraphs>
  <Slides>13</Slides>
  <Notes>13</Notes>
  <HiddenSlides>0</HiddenSlides>
  <MMClips>0</MMClips>
  <ScaleCrop>false</ScaleCrop>
  <HeadingPairs>
    <vt:vector size="8" baseType="variant">
      <vt:variant>
        <vt:lpstr>Fonts Used</vt:lpstr>
      </vt:variant>
      <vt:variant>
        <vt:i4>2</vt:i4>
      </vt:variant>
      <vt:variant>
        <vt:lpstr>Theme</vt:lpstr>
      </vt:variant>
      <vt:variant>
        <vt:i4>11</vt:i4>
      </vt:variant>
      <vt:variant>
        <vt:lpstr>Embedded OLE Servers</vt:lpstr>
      </vt:variant>
      <vt:variant>
        <vt:i4>1</vt:i4>
      </vt:variant>
      <vt:variant>
        <vt:lpstr>Slide Titles</vt:lpstr>
      </vt:variant>
      <vt:variant>
        <vt:i4>13</vt:i4>
      </vt:variant>
    </vt:vector>
  </HeadingPairs>
  <TitlesOfParts>
    <vt:vector size="27" baseType="lpstr">
      <vt:lpstr>Arial</vt:lpstr>
      <vt:lpstr>Calibri</vt:lpstr>
      <vt:lpstr>Custom Design</vt:lpstr>
      <vt:lpstr>Theme3</vt:lpstr>
      <vt:lpstr>1_Custom Design</vt:lpstr>
      <vt:lpstr>2_Custom Design</vt:lpstr>
      <vt:lpstr>3_Custom Design</vt:lpstr>
      <vt:lpstr>4_Custom Design</vt:lpstr>
      <vt:lpstr>5_Custom Design</vt:lpstr>
      <vt:lpstr>6_Custom Design</vt:lpstr>
      <vt:lpstr>7_Custom Design</vt:lpstr>
      <vt:lpstr>8_Custom Design</vt:lpstr>
      <vt:lpstr>1_Theme3</vt:lpstr>
      <vt:lpstr>think-cell Slide</vt:lpstr>
      <vt:lpstr>Initiative Prioritization Matrix Tutorial &amp; Template</vt:lpstr>
      <vt:lpstr>Context</vt:lpstr>
      <vt:lpstr>To prioritize all our potential initiatives, we created a simple matrix with 2 criteria: “Value” and “Ease of implementation”</vt:lpstr>
      <vt:lpstr>The main focus should be on the initiatives that will create a high value while be relatively easy to implement</vt:lpstr>
      <vt:lpstr>Step-by-step tutorial on how to use our Initiative Prioritization matrix</vt:lpstr>
      <vt:lpstr>Step 1: Assess each potential project based on “Value” and “Ease of implementation”</vt:lpstr>
      <vt:lpstr>Step 2: Position each initiative on our prioritization matrix</vt:lpstr>
      <vt:lpstr>Step 3: Focus on the priority 1 and priority 2 initiatives located in the green area</vt:lpstr>
      <vt:lpstr>Project Prioritization Matrix</vt:lpstr>
      <vt:lpstr>Project Prioritization Matrix</vt:lpstr>
      <vt:lpstr>Need more help? Our ex-McKinsey, Deloitte &amp; BCG Consultants have created 19 Management Consulting Toolkits available at www.domontconsulting.com</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32</cp:revision>
  <dcterms:created xsi:type="dcterms:W3CDTF">2020-07-08T04:44:55Z</dcterms:created>
  <dcterms:modified xsi:type="dcterms:W3CDTF">2023-09-29T03:18:3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